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56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brand" id="{E6C8A44A-2FDF-4D9D-9CC2-AB6039A94847}">
          <p14:sldIdLst>
            <p14:sldId id="2147475169"/>
            <p14:sldId id="2147475170"/>
            <p14:sldId id="2147475171"/>
            <p14:sldId id="2147475172"/>
            <p14:sldId id="2147475173"/>
            <p14:sldId id="2147475174"/>
            <p14:sldId id="2147475175"/>
            <p14:sldId id="2147475176"/>
            <p14:sldId id="2147475177"/>
            <p14:sldId id="2147475178"/>
            <p14:sldId id="2147475179"/>
          </p14:sldIdLst>
        </p14:section>
        <p14:section name="Mix Analysis by Retailer for Region" id="{923A4E7F-F534-427A-85B5-8B4BD5A77A82}">
          <p14:sldIdLst>
            <p14:sldId id="2147475180"/>
            <p14:sldId id="2147475181"/>
            <p14:sldId id="2147475182"/>
            <p14:sldId id="2147475183"/>
            <p14:sldId id="2147475184"/>
            <p14:sldId id="2147475185"/>
            <p14:sldId id="2147475186"/>
            <p14:sldId id="2147475187"/>
            <p14:sldId id="2147475188"/>
            <p14:sldId id="2147475189"/>
          </p14:sldIdLst>
        </p14:section>
        <p14:section name="Mix Analysis by Retailer for Market" id="{F986C775-AE5D-40CA-9C69-978D246ABE97}">
          <p14:sldIdLst>
            <p14:sldId id="2147475190"/>
            <p14:sldId id="2147475191"/>
            <p14:sldId id="2147475192"/>
            <p14:sldId id="2147475193"/>
            <p14:sldId id="2147475194"/>
            <p14:sldId id="2147475195"/>
            <p14:sldId id="2147475196"/>
            <p14:sldId id="2147475197"/>
            <p14:sldId id="2147475198"/>
            <p14:sldId id="2147475199"/>
          </p14:sldIdLst>
        </p14:section>
        <p14:section name="Mix Analysis by Sector" id="{D397C4B2-3496-4B3B-8E53-92B66066B443}">
          <p14:sldIdLst>
            <p14:sldId id="2147475200"/>
            <p14:sldId id="2147475201"/>
            <p14:sldId id="2147475202"/>
            <p14:sldId id="2147475203"/>
            <p14:sldId id="2147475204"/>
            <p14:sldId id="2147475205"/>
            <p14:sldId id="2147475206"/>
            <p14:sldId id="2147475207"/>
          </p14:sldIdLst>
        </p14:section>
        <p14:section name="Mix Analysis by Segment" id="{480B9014-1576-4A9D-AE02-D5D9245A5826}">
          <p14:sldIdLst>
            <p14:sldId id="2147475208"/>
            <p14:sldId id="2147475209"/>
            <p14:sldId id="2147475210"/>
            <p14:sldId id="2147475211"/>
            <p14:sldId id="2147475212"/>
            <p14:sldId id="2147475213"/>
            <p14:sldId id="2147475214"/>
            <p14:sldId id="2147475215"/>
          </p14:sldIdLst>
        </p14:section>
        <p14:section name="Mix Analysis bySKU" id="{345E95B5-36F8-4AB2-BC2C-D3F687C91C75}">
          <p14:sldIdLst>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Lst>
        </p14:section>
        <p14:section name="Trade Margin Analysis by Sector" id="{35E1FA13-1831-43C2-ADDC-94A0960D155B}">
          <p14:sldIdLst>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Lst>
        </p14:section>
        <p14:section name="Trade Margin Analysis by Segment" id="{9F574519-C714-48DC-8042-BDB3B5F3172C}">
          <p14:sldIdLst>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Lst>
        </p14:section>
        <p14:section name="SKU KPIs Summary By Manufacture" id="{6F748B9D-F27A-4D94-A22B-929BB46FE0B6}">
          <p14:sldIdLst>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Lst>
        </p14:section>
        <p14:section name="SKU KPIs Summary By Brand" id="{A5FF67CD-5BA7-462D-BF1C-172AD108B18F}">
          <p14:sldIdLst>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Lst>
        </p14:section>
        <p14:section name="Mix Matrix By Retailer" id="{8DE233EB-669E-4289-99A9-4A24F1CD9F8E}">
          <p14:sldIdLst>
            <p14:sldId id="2147475383"/>
            <p14:sldId id="2147475384"/>
            <p14:sldId id="2147475385"/>
            <p14:sldId id="2147475386"/>
            <p14:sldId id="2147475387"/>
            <p14:sldId id="2147475388"/>
            <p14:sldId id="2147475389"/>
            <p14:sldId id="2147475390"/>
          </p14:sldIdLst>
        </p14:section>
        <p14:section name="Mix Matrix By Custom Region" id="{23C85CF3-DD59-4694-9ACC-F330194F8443}">
          <p14:sldIdLst>
            <p14:sldId id="2147475391"/>
            <p14:sldId id="2147475392"/>
            <p14:sldId id="2147475393"/>
            <p14:sldId id="2147475394"/>
          </p14:sldIdLst>
        </p14:section>
        <p14:section name="Mix Matrix By Brands by Sector" id="{A9F24071-C55A-411D-AA38-67778A6AD85B}">
          <p14:sldIdLst>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Lst>
        </p14:section>
        <p14:section name="Mix Matrix By Brands by Segment" id="{83C035BB-6CE9-4205-82A8-7C843BE8F133}">
          <p14:sldIdLst>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Lst>
        </p14:section>
        <p14:section name="Sector Spending Pool" id="{95985ABF-8F0B-4457-969A-16EE97ED186C}">
          <p14:sldIdLst>
            <p14:sldId id="2147475521"/>
            <p14:sldId id="2147475522"/>
            <p14:sldId id="2147475523"/>
            <p14:sldId id="2147475524"/>
            <p14:sldId id="2147475525"/>
            <p14:sldId id="2147475526"/>
            <p14:sldId id="2147475527"/>
            <p14:sldId id="2147475528"/>
          </p14:sldIdLst>
        </p14:section>
        <p14:section name="Segment Spending Pool" id="{54AEB150-6019-402E-A758-503C0ABEE579}">
          <p14:sldIdLst>
            <p14:sldId id="2147475529"/>
            <p14:sldId id="2147475530"/>
            <p14:sldId id="2147475531"/>
            <p14:sldId id="2147475532"/>
            <p14:sldId id="2147475533"/>
            <p14:sldId id="2147475534"/>
            <p14:sldId id="2147475535"/>
            <p14:sldId id="2147475536"/>
          </p14:sldIdLst>
        </p14:section>
        <p14:section name="Product Spending Pool" id="{208D245D-C4C5-4649-9321-4DA41248112B}">
          <p14:sldIdLst>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Lst>
        </p14:section>
        <p14:section name="SKU Profitability" id="{A515C585-E0CB-4F49-95AC-B32CF5CE2B4B}">
          <p14:sldIdLst>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Lst>
        </p14:section>
        <p14:section name="Trade Margin Table By Sector" id="{D376E702-4062-47EE-9EE0-9C43752ACA86}">
          <p14:sldIdLst>
            <p14:sldId id="2147475719"/>
            <p14:sldId id="2147475720"/>
            <p14:sldId id="2147475721"/>
            <p14:sldId id="2147475722"/>
          </p14:sldIdLst>
        </p14:section>
        <p14:section name="Trade Margin Table By Segment" id="{FCB3FBDB-421F-4342-A67E-BBE917122A31}">
          <p14:sldIdLst>
            <p14:sldId id="2147475723"/>
            <p14:sldId id="2147475724"/>
            <p14:sldId id="2147475725"/>
            <p14:sldId id="21474757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notesMaster" Target="notesMasters/notesMaster1.xml"/><Relationship Id="rId564" Type="http://schemas.openxmlformats.org/officeDocument/2006/relationships/presProps" Target="presProps.xml"/><Relationship Id="rId565" Type="http://schemas.openxmlformats.org/officeDocument/2006/relationships/viewProps" Target="viewProps.xml"/><Relationship Id="rId566" Type="http://schemas.openxmlformats.org/officeDocument/2006/relationships/theme" Target="theme/theme1.xml"/><Relationship Id="rId567" Type="http://schemas.openxmlformats.org/officeDocument/2006/relationships/tableStyles" Target="tableStyles.xml"/><Relationship Id="rId568" Type="http://schemas.microsoft.com/office/2015/10/relationships/revisionInfo" Target="revisionInfo.xml"/><Relationship Id="rId56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themeOverride" Target="../theme/themeOverride16.xml"/><Relationship Id="rId2"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themeOverride" Target="../theme/themeOverride17.xml"/><Relationship Id="rId2"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themeOverride" Target="../theme/themeOverride18.xml"/><Relationship Id="rId2"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themeOverride" Target="../theme/themeOverride19.xml"/><Relationship Id="rId2"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themeOverride" Target="../theme/themeOverride20.xml"/><Relationship Id="rId2"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themeOverride" Target="../theme/themeOverride21.xml"/><Relationship Id="rId2"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themeOverride" Target="../theme/themeOverride22.xml"/><Relationship Id="rId2"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23.xml"/><Relationship Id="rId2"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themeOverride" Target="../theme/themeOverride24.xml"/><Relationship Id="rId2"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themeOverride" Target="../theme/themeOverride25.xml"/><Relationship Id="rId2"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themeOverride" Target="../theme/themeOverride26.xml"/><Relationship Id="rId2"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themeOverride" Target="../theme/themeOverride27.xml"/><Relationship Id="rId2"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themeOverride" Target="../theme/themeOverride28.xml"/><Relationship Id="rId2"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themeOverride" Target="../theme/themeOverride29.xml"/><Relationship Id="rId2"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themeOverride" Target="../theme/themeOverride30.xml"/><Relationship Id="rId2"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themeOverride" Target="../theme/themeOverride31.xml"/><Relationship Id="rId2"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themeOverride" Target="../theme/themeOverride32.xml"/><Relationship Id="rId2"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themeOverride" Target="../theme/themeOverride33.xml"/><Relationship Id="rId2"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themeOverride" Target="../theme/themeOverride34.xml"/><Relationship Id="rId2"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themeOverride" Target="../theme/themeOverride35.xml"/><Relationship Id="rId2"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themeOverride" Target="../theme/themeOverride36.xml"/><Relationship Id="rId2"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themeOverride" Target="../theme/themeOverride37.xml"/><Relationship Id="rId2"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themeOverride" Target="../theme/themeOverride38.xml"/><Relationship Id="rId2"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themeOverride" Target="../theme/themeOverride39.xml"/><Relationship Id="rId2"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themeOverride" Target="../theme/themeOverride40.xml"/><Relationship Id="rId2"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themeOverride" Target="../theme/themeOverride51.xml"/><Relationship Id="rId2"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themeOverride" Target="../theme/themeOverride52.xml"/><Relationship Id="rId2"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themeOverride" Target="../theme/themeOverride53.xml"/><Relationship Id="rId2"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themeOverride" Target="../theme/themeOverride54.xml"/><Relationship Id="rId2"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themeOverride" Target="../theme/themeOverride55.xml"/><Relationship Id="rId2"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themeOverride" Target="../theme/themeOverride56.xml"/><Relationship Id="rId2"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themeOverride" Target="../theme/themeOverride57.xml"/><Relationship Id="rId2"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themeOverride" Target="../theme/themeOverride58.xml"/><Relationship Id="rId2"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themeOverride" Target="../theme/themeOverride59.xml"/><Relationship Id="rId2"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themeOverride" Target="../theme/themeOverride60.xml"/><Relationship Id="rId2"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themeOverride" Target="../theme/themeOverride61.xml"/><Relationship Id="rId2"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themeOverride" Target="../theme/themeOverride62.xml"/><Relationship Id="rId2"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themeOverride" Target="../theme/themeOverride63.xml"/><Relationship Id="rId2"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themeOverride" Target="../theme/themeOverride64.xml"/><Relationship Id="rId2"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themeOverride" Target="../theme/themeOverride65.xml"/><Relationship Id="rId2"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themeOverride" Target="../theme/themeOverride66.xml"/><Relationship Id="rId2"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67.xml"/><Relationship Id="rId2"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themeOverride" Target="../theme/themeOverride68.xml"/><Relationship Id="rId2"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themeOverride" Target="../theme/themeOverride69.xml"/><Relationship Id="rId2"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themeOverride" Target="../theme/themeOverride70.xml"/><Relationship Id="rId2"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themeOverride" Target="../theme/themeOverride71.xml"/><Relationship Id="rId2"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themeOverride" Target="../theme/themeOverride72.xml"/><Relationship Id="rId2"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C7E25C9-5C15-4FA8-A977-B062FD310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B97749C-6B39-4AAE-91F3-5C91E07E3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676DF7C-404A-482B-BDC3-3CB341BAB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6803DD1-1A8F-4994-B5A6-B41748EF0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33F36FF-EC0B-4C67-A6D1-2CE751BCE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8A497FB-4EB8-40E4-888D-344EF43FD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1771B66-E3CB-42B1-88CC-EA1585C68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29F7652-83F1-4EE4-BD1F-4AE9BC2D9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9101</c:v>
                </c:pt>
                <c:pt idx="1">
                  <c:v>3.4256</c:v>
                </c:pt>
              </c:numCache>
            </c:numRef>
          </c:xVal>
          <c:yVal>
            <c:numRef>
              <c:f>Sheet1!$B$2:$B$3</c:f>
              <c:numCache>
                <c:formatCode>General</c:formatCode>
                <c:ptCount val="2"/>
                <c:pt idx="0">
                  <c:v>0.6187</c:v>
                </c:pt>
                <c:pt idx="1">
                  <c:v>0.4856</c:v>
                </c:pt>
              </c:numCache>
            </c:numRef>
          </c:yVal>
          <c:bubbleSize>
            <c:numRef>
              <c:f>Sheet1!$C$2:$C$3</c:f>
              <c:numCache>
                <c:formatCode>General</c:formatCode>
                <c:ptCount val="2"/>
                <c:pt idx="0">
                  <c:v>22718806.525000002</c:v>
                </c:pt>
                <c:pt idx="1">
                  <c:v>84765.607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1072"/>
          <c:min val="0.7280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052396925932"/>
        <c:crossBetween val="midCat"/>
      </c:valAx>
      <c:valAx>
        <c:axId val="1011451359"/>
        <c:scaling>
          <c:orientation val="minMax"/>
          <c:max val="1.10244"/>
          <c:min val="0.148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19450635261321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67A3AAC-FA79-4122-A26D-4231A08DA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0EDB421-DF61-4432-93E0-E05B6F2C4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EF0A940-E508-4084-9A10-9A9497D07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A16356B-9428-4AAA-8A64-42547D57E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11AFA32-1689-4F82-A9A0-9A8D6FD9E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625F458-5446-4B39-9B4E-E4258B3E6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5B3B0E1-4880-474D-A01E-7C2826D3C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D9F7CB5-6B2B-442E-8ECA-88036E6C5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67</c:v>
                </c:pt>
                <c:pt idx="1">
                  <c:v>4.7265</c:v>
                </c:pt>
              </c:numCache>
            </c:numRef>
          </c:xVal>
          <c:yVal>
            <c:numRef>
              <c:f>Sheet1!$B$2:$B$3</c:f>
              <c:numCache>
                <c:formatCode>General</c:formatCode>
                <c:ptCount val="2"/>
                <c:pt idx="0">
                  <c:v>0.4444</c:v>
                </c:pt>
                <c:pt idx="1">
                  <c:v>0.3715</c:v>
                </c:pt>
              </c:numCache>
            </c:numRef>
          </c:yVal>
          <c:bubbleSize>
            <c:numRef>
              <c:f>Sheet1!$C$2:$C$3</c:f>
              <c:numCache>
                <c:formatCode>General</c:formatCode>
                <c:ptCount val="2"/>
                <c:pt idx="0">
                  <c:v>3320645.4797999994</c:v>
                </c:pt>
                <c:pt idx="1">
                  <c:v>55007.15530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1.6536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432120751585415"/>
        <c:crossBetween val="midCat"/>
      </c:valAx>
      <c:valAx>
        <c:axId val="1011451359"/>
        <c:scaling>
          <c:orientation val="minMax"/>
          <c:max val="0.89328"/>
          <c:min val="0.0572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1033725810505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6</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17385730995520876</c:v>
                </c:pt>
                <c:pt idx="1">
                  <c:v>0.024008408089558286</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363</c:v>
                </c:pt>
                <c:pt idx="1">
                  <c:v>0.3055</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7</c:v>
                </c:pt>
                <c:pt idx="1">
                  <c:v>1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2498971434602537</c:v>
                </c:pt>
                <c:pt idx="1">
                  <c:v>-0.004573270653436268</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0D906D5-7B35-4ADA-AC44-C3F49E65E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06DA089-42A2-4D7F-9AFA-82D8DA67F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0E79DAA-2F99-443C-B286-25CCB974B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1C14DA7-C0F7-445A-9935-D22851376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1836EC6-ED10-41CB-8F83-8CB35C11E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9BB0338-91DC-473E-8BA9-42F19CCD1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E67BFA6-FC12-4B15-B2D4-8820B4011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AB859FC-970D-46A5-A25A-B9D54A4C0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6663</c:v>
                </c:pt>
                <c:pt idx="1">
                  <c:v>2.2174</c:v>
                </c:pt>
              </c:numCache>
            </c:numRef>
          </c:xVal>
          <c:yVal>
            <c:numRef>
              <c:f>Sheet1!$B$2:$B$3</c:f>
              <c:numCache>
                <c:formatCode>General</c:formatCode>
                <c:ptCount val="2"/>
                <c:pt idx="0">
                  <c:v>0.6929</c:v>
                </c:pt>
                <c:pt idx="1">
                  <c:v>0.7142</c:v>
                </c:pt>
              </c:numCache>
            </c:numRef>
          </c:yVal>
          <c:bubbleSize>
            <c:numRef>
              <c:f>Sheet1!$C$2:$C$3</c:f>
              <c:numCache>
                <c:formatCode>General</c:formatCode>
                <c:ptCount val="2"/>
                <c:pt idx="0">
                  <c:v>5728569.057500001</c:v>
                </c:pt>
                <c:pt idx="1">
                  <c:v>27404.931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66088"/>
          <c:min val="1.333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3001412034819"/>
        <c:crossBetween val="midCat"/>
      </c:valAx>
      <c:valAx>
        <c:axId val="1011451359"/>
        <c:scaling>
          <c:orientation val="minMax"/>
          <c:max val="1.21704"/>
          <c:min val="0.31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892385785862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77</c:v>
                </c:pt>
                <c:pt idx="1">
                  <c:v>0.4363</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1</c:v>
                </c:pt>
                <c:pt idx="1">
                  <c:v>9</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5</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25101744074049026</c:v>
                </c:pt>
                <c:pt idx="1">
                  <c:v>0.07956544916450764</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411</c:v>
                </c:pt>
                <c:pt idx="1">
                  <c:v>0.3478</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E17199A-0CEF-4AEF-B19E-B4168947C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2809D78-9BCC-42B2-A66B-16B3BAC16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8E6E7CD-2A5B-48A5-92EB-CC831DC09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CBBFE4F-8E1A-4A1E-A4B5-1F1C3BCBE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B7B5E6F-E219-4782-BB81-CDE305CCF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E199233-DF33-45F9-94D6-53B587434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EC6EEDF-EB3E-44E7-B338-ECFA1F8A4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FE08244-7C53-4E2B-A54C-FBBD7636E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986</c:v>
                </c:pt>
              </c:numCache>
            </c:numRef>
          </c:xVal>
          <c:yVal>
            <c:numRef>
              <c:f>Sheet1!$B$2:$B$2</c:f>
              <c:numCache>
                <c:formatCode>General</c:formatCode>
                <c:ptCount val="1"/>
                <c:pt idx="0">
                  <c:v>0.604</c:v>
                </c:pt>
              </c:numCache>
            </c:numRef>
          </c:yVal>
          <c:bubbleSize>
            <c:numRef>
              <c:f>Sheet1!$C$2:$C$2</c:f>
              <c:numCache>
                <c:formatCode>General</c:formatCode>
                <c:ptCount val="1"/>
                <c:pt idx="0">
                  <c:v>10147245.1986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5832"/>
          <c:min val="1.43888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4"/>
        <c:crossBetween val="midCat"/>
      </c:valAx>
      <c:valAx>
        <c:axId val="1011451359"/>
        <c:scaling>
          <c:orientation val="minMax"/>
          <c:max val="1.0847999999999998"/>
          <c:min val="0.2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9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7451871007684019</c:v>
                </c:pt>
                <c:pt idx="1">
                  <c:v>-0.0071600315593756125</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14</c:v>
                </c:pt>
                <c:pt idx="1">
                  <c:v>0.4289</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5</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ED2C141-7C86-4F94-A31E-9ED7AE113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2B2E537-492E-49E9-847B-DAAB521F3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3FB06B9-0E5A-4DE0-B2A5-3907D5CB1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09CF362-52F6-4EB1-9FF3-03DF16A1E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AA70878-BDCF-46CC-9BFB-871FCECB7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4007E64-73A7-42B9-A9E6-24CB2861C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BF7EDBA-DBE8-4CB3-987D-F43E9ACD5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39A289A-8047-421A-9652-F6278942F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248</c:v>
                </c:pt>
              </c:numCache>
            </c:numRef>
          </c:xVal>
          <c:yVal>
            <c:numRef>
              <c:f>Sheet1!$B$2:$B$2</c:f>
              <c:numCache>
                <c:formatCode>General</c:formatCode>
                <c:ptCount val="1"/>
                <c:pt idx="0">
                  <c:v>0.6549</c:v>
                </c:pt>
              </c:numCache>
            </c:numRef>
          </c:yVal>
          <c:bubbleSize>
            <c:numRef>
              <c:f>Sheet1!$C$2:$C$2</c:f>
              <c:numCache>
                <c:formatCode>General</c:formatCode>
                <c:ptCount val="1"/>
                <c:pt idx="0">
                  <c:v>5594958.6237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97599999999998"/>
          <c:min val="1.05984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
        <c:crossBetween val="midCat"/>
      </c:valAx>
      <c:valAx>
        <c:axId val="1011451359"/>
        <c:scaling>
          <c:orientation val="minMax"/>
          <c:max val="1.14588"/>
          <c:min val="0.28392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23369936859692797</c:v>
                </c:pt>
                <c:pt idx="1">
                  <c:v>0.03615498426792002</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479</c:v>
                </c:pt>
                <c:pt idx="1">
                  <c:v>0.3242</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2617775794351185</c:v>
                </c:pt>
                <c:pt idx="1">
                  <c:v>-0.006973958718158368</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82</c:v>
                </c:pt>
                <c:pt idx="1">
                  <c:v>0.4334</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91CB22F-0059-47F8-A903-DC902A520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B198418-68AD-4320-80BE-8457A975D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B0797CF-9959-4CA7-A0F8-0879743A0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17F129E-F6C5-4788-9C03-5A66E0085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7A9F531-1F14-48BA-95E3-CCDF86A54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16FB633-5DF5-4930-9A8C-E64FEA3A9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A8AE444-7342-480E-AFA5-8E1C35540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BC48FDA-28F4-4027-945B-F04FD9698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6542</c:v>
                </c:pt>
              </c:numCache>
            </c:numRef>
          </c:xVal>
          <c:yVal>
            <c:numRef>
              <c:f>Sheet1!$B$2:$B$2</c:f>
              <c:numCache>
                <c:formatCode>General</c:formatCode>
                <c:ptCount val="1"/>
                <c:pt idx="0">
                  <c:v>0.6296</c:v>
                </c:pt>
              </c:numCache>
            </c:numRef>
          </c:yVal>
          <c:bubbleSize>
            <c:numRef>
              <c:f>Sheet1!$C$2:$C$2</c:f>
              <c:numCache>
                <c:formatCode>General</c:formatCode>
                <c:ptCount val="1"/>
                <c:pt idx="0">
                  <c:v>12656356.5542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78504"/>
          <c:min val="0.523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6"/>
        <c:crossBetween val="midCat"/>
      </c:valAx>
      <c:valAx>
        <c:axId val="1011451359"/>
        <c:scaling>
          <c:orientation val="minMax"/>
          <c:max val="1.1155199999999998"/>
          <c:min val="0.26368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54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2</c:v>
                </c:pt>
                <c:pt idx="1">
                  <c:v>5</c:v>
                </c:pt>
                <c:pt idx="2">
                  <c:v>1</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3159228879583101</c:v>
                </c:pt>
                <c:pt idx="1">
                  <c:v>0.018270508795408702</c:v>
                </c:pt>
                <c:pt idx="2">
                  <c:v>0.008249522707447166</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2815</c:v>
                </c:pt>
                <c:pt idx="1">
                  <c:v>0.3374</c:v>
                </c:pt>
                <c:pt idx="2">
                  <c:v>0.3505</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6575417-803F-4B8F-9290-D07C9838F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97974D2-FB4E-47BC-A129-03268D5C1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44A5C36-7471-444E-854F-D5C552482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3456D1F-7739-4909-82EF-3F1404AA9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E0D98BA-F2B7-47A9-8EFD-8807B98E9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F0307BE-C550-4287-88A0-0E750279C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3C6C9A2-24FA-41A5-A646-FABDF433D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5C772A0-A11C-4079-8DE3-AB60DE347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2956</c:v>
                </c:pt>
              </c:numCache>
            </c:numRef>
          </c:xVal>
          <c:yVal>
            <c:numRef>
              <c:f>Sheet1!$B$2:$B$2</c:f>
              <c:numCache>
                <c:formatCode>General</c:formatCode>
                <c:ptCount val="1"/>
                <c:pt idx="0">
                  <c:v>0.3656</c:v>
                </c:pt>
              </c:numCache>
            </c:numRef>
          </c:yVal>
          <c:bubbleSize>
            <c:numRef>
              <c:f>Sheet1!$C$2:$C$2</c:f>
              <c:numCache>
                <c:formatCode>General</c:formatCode>
                <c:ptCount val="1"/>
                <c:pt idx="0">
                  <c:v>13456423.1585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35472"/>
          <c:min val="0.23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6"/>
        <c:crossBetween val="midCat"/>
      </c:valAx>
      <c:valAx>
        <c:axId val="1011451359"/>
        <c:scaling>
          <c:orientation val="minMax"/>
          <c:max val="0.79872"/>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9</c:v>
                </c:pt>
                <c:pt idx="1">
                  <c:v>19</c:v>
                </c:pt>
                <c:pt idx="2">
                  <c:v>6</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0772450952378495</c:v>
                </c:pt>
                <c:pt idx="1">
                  <c:v>0.001817072786188756</c:v>
                </c:pt>
                <c:pt idx="2">
                  <c:v>0.01543436425986111</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189</c:v>
                </c:pt>
                <c:pt idx="1">
                  <c:v>0.4573</c:v>
                </c:pt>
                <c:pt idx="2">
                  <c:v>0.4884</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8</c:v>
                </c:pt>
                <c:pt idx="1">
                  <c:v>25</c:v>
                </c:pt>
                <c:pt idx="2">
                  <c:v>2</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6</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CBFFF25-1CC4-4C75-B16C-F59CA446F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AA6FA16-882E-4D9F-81CA-1F319F1D9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76D29C8-D242-471B-BE81-D070843CA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3E3B9E5-9ADD-4D4B-BCA4-52B75B3A8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8C96C30-645B-4353-AF1A-35117DB3D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53045D4-8C84-4110-B386-8692199E3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604710D-5F5D-480E-8345-AD8F55BA9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66CB606-D4E1-457E-BDE2-F5E1C6831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9126</c:v>
                </c:pt>
              </c:numCache>
            </c:numRef>
          </c:xVal>
          <c:yVal>
            <c:numRef>
              <c:f>Sheet1!$B$2:$B$2</c:f>
              <c:numCache>
                <c:formatCode>General</c:formatCode>
                <c:ptCount val="1"/>
                <c:pt idx="0">
                  <c:v>0.6182</c:v>
                </c:pt>
              </c:numCache>
            </c:numRef>
          </c:yVal>
          <c:bubbleSize>
            <c:numRef>
              <c:f>Sheet1!$C$2:$C$2</c:f>
              <c:numCache>
                <c:formatCode>General</c:formatCode>
                <c:ptCount val="1"/>
                <c:pt idx="0">
                  <c:v>22803601.753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951199999999999"/>
          <c:min val="0.7300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
        <c:crossBetween val="midCat"/>
      </c:valAx>
      <c:valAx>
        <c:axId val="1011451359"/>
        <c:scaling>
          <c:orientation val="minMax"/>
          <c:max val="1.10184"/>
          <c:min val="0.254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1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27961370937106433</c:v>
                </c:pt>
                <c:pt idx="1">
                  <c:v>0.017385730995520876</c:v>
                </c:pt>
                <c:pt idx="2">
                  <c:v>0.005034037963472293</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2793</c:v>
                </c:pt>
                <c:pt idx="1">
                  <c:v>0.3363</c:v>
                </c:pt>
                <c:pt idx="2">
                  <c:v>0.346</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8</c:v>
                </c:pt>
                <c:pt idx="1">
                  <c:v>17</c:v>
                </c:pt>
                <c:pt idx="2">
                  <c:v>5</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07232544619173442</c:v>
                </c:pt>
                <c:pt idx="1">
                  <c:v>0.002498971434602537</c:v>
                </c:pt>
                <c:pt idx="2">
                  <c:v>0.015443412482421204</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2</c:v>
                </c:pt>
                <c:pt idx="1">
                  <c:v>0.4577</c:v>
                </c:pt>
                <c:pt idx="2">
                  <c:v>0.4884</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7</c:v>
                </c:pt>
                <c:pt idx="1">
                  <c:v>21</c:v>
                </c:pt>
                <c:pt idx="2">
                  <c:v>2</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8FED6FD-C5FA-46CB-9D42-93068719F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BAACE32-A390-4E30-9020-0BA19A529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C4EE1AC-2C71-4865-8149-F97735724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9F38688-A3B2-4CED-98CE-54F41E0FC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8851A6F-51EC-4D65-AB86-795767D9F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60C434B-54C3-4187-AB57-4064AC8CE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94415D2-FC89-46A9-8993-DE25C0B67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3111956-A65C-4719-9D25-A50519554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3829</c:v>
                </c:pt>
              </c:numCache>
            </c:numRef>
          </c:xVal>
          <c:yVal>
            <c:numRef>
              <c:f>Sheet1!$B$2:$B$2</c:f>
              <c:numCache>
                <c:formatCode>General</c:formatCode>
                <c:ptCount val="1"/>
                <c:pt idx="0">
                  <c:v>0.4506</c:v>
                </c:pt>
              </c:numCache>
            </c:numRef>
          </c:yVal>
          <c:bubbleSize>
            <c:numRef>
              <c:f>Sheet1!$C$2:$C$2</c:f>
              <c:numCache>
                <c:formatCode>General</c:formatCode>
                <c:ptCount val="1"/>
                <c:pt idx="0">
                  <c:v>19051381.7821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45948"/>
          <c:min val="0.306320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6"/>
        <c:crossBetween val="midCat"/>
      </c:valAx>
      <c:valAx>
        <c:axId val="1011451359"/>
        <c:scaling>
          <c:orientation val="minMax"/>
          <c:max val="0.9007199999999999"/>
          <c:min val="0.1204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2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5</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10101119875946296</c:v>
                </c:pt>
                <c:pt idx="1">
                  <c:v>0.025101744074049026</c:v>
                </c:pt>
                <c:pt idx="2">
                  <c:v>0.028708949419949337</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3172</c:v>
                </c:pt>
                <c:pt idx="1">
                  <c:v>0.3411</c:v>
                </c:pt>
                <c:pt idx="2">
                  <c:v>0.3913</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c:v>
                </c:pt>
                <c:pt idx="1">
                  <c:v>1</c:v>
                </c:pt>
                <c:pt idx="2">
                  <c:v>0</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11591047292314915</c:v>
                </c:pt>
                <c:pt idx="1">
                  <c:v>-0.007451871007684019</c:v>
                </c:pt>
                <c:pt idx="2">
                  <c:v>0.015917185826573144</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08</c:v>
                </c:pt>
                <c:pt idx="1">
                  <c:v>0.4514</c:v>
                </c:pt>
                <c:pt idx="2">
                  <c:v>0.4888</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2</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D3B064C-33BA-4262-9BEB-A20C3F693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98339F0-1A01-4705-9906-DE28502E0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52F2C29-EB0A-4F10-B737-20006E57C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A9577AC-C3DF-4ECE-861A-C79CE3298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F64842A-386B-4984-9470-9D1BBC634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8AFAFC7-BC67-4ABA-985E-E3EC1D0EB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CCF9751-E632-4396-8246-81B8D0D78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EC4636B-EA3F-4253-954C-F8E57CAE0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96</c:v>
                </c:pt>
              </c:numCache>
            </c:numRef>
          </c:xVal>
          <c:yVal>
            <c:numRef>
              <c:f>Sheet1!$B$2:$B$2</c:f>
              <c:numCache>
                <c:formatCode>General</c:formatCode>
                <c:ptCount val="1"/>
                <c:pt idx="0">
                  <c:v>0.4513</c:v>
                </c:pt>
              </c:numCache>
            </c:numRef>
          </c:yVal>
          <c:bubbleSize>
            <c:numRef>
              <c:f>Sheet1!$C$2:$C$2</c:f>
              <c:numCache>
                <c:formatCode>General</c:formatCode>
                <c:ptCount val="1"/>
                <c:pt idx="0">
                  <c:v>3733434.35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9552"/>
          <c:min val="1.66368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
        <c:crossBetween val="midCat"/>
      </c:valAx>
      <c:valAx>
        <c:axId val="1011451359"/>
        <c:scaling>
          <c:orientation val="minMax"/>
          <c:max val="0.9015599999999999"/>
          <c:min val="0.12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7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2</c:v>
                </c:pt>
                <c:pt idx="1">
                  <c:v>5</c:v>
                </c:pt>
                <c:pt idx="2">
                  <c:v>1</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33694064819427105</c:v>
                </c:pt>
                <c:pt idx="1">
                  <c:v>0.023369936859692797</c:v>
                </c:pt>
                <c:pt idx="2">
                  <c:v>0.04420109458118249</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2877</c:v>
                </c:pt>
                <c:pt idx="1">
                  <c:v>0.3479</c:v>
                </c:pt>
                <c:pt idx="2">
                  <c:v>0.3891</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1</c:v>
                </c:pt>
                <c:pt idx="1">
                  <c:v>1</c:v>
                </c:pt>
                <c:pt idx="2">
                  <c:v>0</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097294256828101</c:v>
                </c:pt>
                <c:pt idx="1">
                  <c:v>0.002617775794351185</c:v>
                </c:pt>
                <c:pt idx="2">
                  <c:v>0.01477787031208122</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159</c:v>
                </c:pt>
                <c:pt idx="1">
                  <c:v>0.4582</c:v>
                </c:pt>
                <c:pt idx="2">
                  <c:v>0.4875</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c:v>
                </c:pt>
                <c:pt idx="1">
                  <c:v>2</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89868F6-67F0-4761-A24D-CC1E57774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0D6DE33-D176-45FD-9BA3-AC856351A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2D148CC-E415-48B6-AF8E-65C41A74C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C18DE4B-4664-49C2-9723-96A68F3F4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724586B-8626-4D50-9296-D7D0AFE40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1C42167-40F0-4DE5-A7B7-202196B68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F6C105D-BD65-4011-8557-0DD8ACDFD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DE2FF71-41E9-44D3-907C-BAB0C0BC4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0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1.7272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4</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B$2:$B$3</c:f>
              <c:numCache>
                <c:formatCode>General</c:formatCode>
                <c:ptCount val="2"/>
                <c:pt idx="0">
                  <c:v>0.4119</c:v>
                </c:pt>
                <c:pt idx="1">
                  <c:v>1.08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C$2:$C$3</c:f>
              <c:numCache>
                <c:formatCode>General</c:formatCode>
                <c:ptCount val="2"/>
                <c:pt idx="0">
                  <c:v>0.2423</c:v>
                </c:pt>
                <c:pt idx="1">
                  <c:v>0.712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D$2:$D$3</c:f>
              <c:numCache>
                <c:formatCode>General</c:formatCode>
                <c:ptCount val="2"/>
                <c:pt idx="0">
                  <c:v>0.3333</c:v>
                </c:pt>
                <c:pt idx="1">
                  <c:v>0.80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B$2:$B$3</c:f>
              <c:numCache>
                <c:formatCode>General</c:formatCode>
                <c:ptCount val="2"/>
                <c:pt idx="0">
                  <c:v>0.1081</c:v>
                </c:pt>
                <c:pt idx="1">
                  <c:v>0.867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C$2:$C$3</c:f>
              <c:numCache>
                <c:formatCode>General</c:formatCode>
                <c:ptCount val="2"/>
                <c:pt idx="0">
                  <c:v>0.1875</c:v>
                </c:pt>
                <c:pt idx="1">
                  <c:v>0.457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D$2:$D$3</c:f>
              <c:numCache>
                <c:formatCode>General</c:formatCode>
                <c:ptCount val="2"/>
                <c:pt idx="0">
                  <c:v>0.249</c:v>
                </c:pt>
                <c:pt idx="1">
                  <c:v>1.02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B$2:$B$3</c:f>
              <c:numCache>
                <c:formatCode>General</c:formatCode>
                <c:ptCount val="2"/>
                <c:pt idx="0">
                  <c:v>0.4111</c:v>
                </c:pt>
                <c:pt idx="1">
                  <c:v>1.082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C$2:$C$3</c:f>
              <c:numCache>
                <c:formatCode>General</c:formatCode>
                <c:ptCount val="2"/>
                <c:pt idx="0">
                  <c:v>0.246</c:v>
                </c:pt>
                <c:pt idx="1">
                  <c:v>0.71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D$2:$D$3</c:f>
              <c:numCache>
                <c:formatCode>General</c:formatCode>
                <c:ptCount val="2"/>
                <c:pt idx="0">
                  <c:v>0.3329</c:v>
                </c:pt>
                <c:pt idx="1">
                  <c:v>0.79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B$2:$B$3</c:f>
              <c:numCache>
                <c:formatCode>General</c:formatCode>
                <c:ptCount val="2"/>
                <c:pt idx="0">
                  <c:v>0.1103</c:v>
                </c:pt>
                <c:pt idx="1">
                  <c:v>0.86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C$2:$C$3</c:f>
              <c:numCache>
                <c:formatCode>General</c:formatCode>
                <c:ptCount val="2"/>
                <c:pt idx="0">
                  <c:v>0.189</c:v>
                </c:pt>
                <c:pt idx="1">
                  <c:v>0.456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D$2:$D$3</c:f>
              <c:numCache>
                <c:formatCode>General</c:formatCode>
                <c:ptCount val="2"/>
                <c:pt idx="0">
                  <c:v>0.2525</c:v>
                </c:pt>
                <c:pt idx="1">
                  <c:v>1.024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FAC65AD-048F-4E8A-B8D6-EFE7140B5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D45D900-D682-4686-9BA5-D681B3BF3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A411AAE-8E78-4A1C-8F3D-08074EA41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FD1242D-2B1E-480B-BD10-227E1E050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69DC93F-C9DC-4A6F-9EA2-F027A7130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814474D-68B2-465B-BB2A-6734BFA53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8BB1B16-0AAF-4F22-9B08-B702281E8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6CAC8E7-D171-43AA-A06E-AB6184206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7914</c:v>
                </c:pt>
                <c:pt idx="1">
                  <c:v>3.4256</c:v>
                </c:pt>
              </c:numCache>
            </c:numRef>
          </c:xVal>
          <c:yVal>
            <c:numRef>
              <c:f>Sheet1!$B$2:$B$3</c:f>
              <c:numCache>
                <c:formatCode>General</c:formatCode>
                <c:ptCount val="2"/>
                <c:pt idx="0">
                  <c:v>0.605</c:v>
                </c:pt>
                <c:pt idx="1">
                  <c:v>0.4856</c:v>
                </c:pt>
              </c:numCache>
            </c:numRef>
          </c:yVal>
          <c:bubbleSize>
            <c:numRef>
              <c:f>Sheet1!$C$2:$C$3</c:f>
              <c:numCache>
                <c:formatCode>General</c:formatCode>
                <c:ptCount val="2"/>
                <c:pt idx="0">
                  <c:v>10062449.9707</c:v>
                </c:pt>
                <c:pt idx="1">
                  <c:v>84765.607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1072"/>
          <c:min val="1.43312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40025821904047"/>
        <c:crossBetween val="midCat"/>
      </c:valAx>
      <c:valAx>
        <c:axId val="1011451359"/>
        <c:scaling>
          <c:orientation val="minMax"/>
          <c:max val="1.086"/>
          <c:min val="0.148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0505142533032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1556BD5-F24E-4A30-9839-34A5A66E6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1803BA7-6495-472F-A149-5B113D027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0543B6A-822C-4035-9013-94CD1FFEF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AA91CAF-37EB-4881-BA1D-FD38F04E1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C4BF271-D6FB-4ADA-8CEB-D356DFF6A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CF01136-28D8-4E57-A2FF-ED88ABEB7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496B8F8-81AC-4947-BB9D-627A5C7E2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ACBB383-72FD-4E0B-9925-53B01DDB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674</c:v>
                </c:pt>
              </c:numCache>
            </c:numRef>
          </c:xVal>
          <c:yVal>
            <c:numRef>
              <c:f>Sheet1!$B$2:$B$2</c:f>
              <c:numCache>
                <c:formatCode>General</c:formatCode>
                <c:ptCount val="1"/>
                <c:pt idx="0">
                  <c:v>0.6929</c:v>
                </c:pt>
              </c:numCache>
            </c:numRef>
          </c:yVal>
          <c:bubbleSize>
            <c:numRef>
              <c:f>Sheet1!$C$2:$C$2</c:f>
              <c:numCache>
                <c:formatCode>General</c:formatCode>
                <c:ptCount val="1"/>
                <c:pt idx="0">
                  <c:v>6413810.8483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0088"/>
          <c:min val="1.3339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9"/>
        <c:crossBetween val="midCat"/>
      </c:valAx>
      <c:valAx>
        <c:axId val="1011451359"/>
        <c:scaling>
          <c:orientation val="minMax"/>
          <c:max val="1.1914799999999999"/>
          <c:min val="0.31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B$2:$B$3</c:f>
              <c:numCache>
                <c:formatCode>General</c:formatCode>
                <c:ptCount val="2"/>
                <c:pt idx="0">
                  <c:v>0.424</c:v>
                </c:pt>
                <c:pt idx="1">
                  <c:v>1.117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C$2:$C$3</c:f>
              <c:numCache>
                <c:formatCode>General</c:formatCode>
                <c:ptCount val="2"/>
                <c:pt idx="0">
                  <c:v>0.22</c:v>
                </c:pt>
                <c:pt idx="1">
                  <c:v>0.65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D$2:$D$3</c:f>
              <c:numCache>
                <c:formatCode>General</c:formatCode>
                <c:ptCount val="2"/>
                <c:pt idx="0">
                  <c:v>0.3333</c:v>
                </c:pt>
                <c:pt idx="1">
                  <c:v>0.94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B$2:$B$3</c:f>
              <c:numCache>
                <c:formatCode>General</c:formatCode>
                <c:ptCount val="2"/>
                <c:pt idx="0">
                  <c:v>0.0906</c:v>
                </c:pt>
                <c:pt idx="1">
                  <c:v>0.87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C$2:$C$3</c:f>
              <c:numCache>
                <c:formatCode>General</c:formatCode>
                <c:ptCount val="2"/>
                <c:pt idx="0">
                  <c:v>0.1769</c:v>
                </c:pt>
                <c:pt idx="1">
                  <c:v>0.466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D$2:$D$3</c:f>
              <c:numCache>
                <c:formatCode>General</c:formatCode>
                <c:ptCount val="2"/>
                <c:pt idx="0">
                  <c:v>0.2201</c:v>
                </c:pt>
                <c:pt idx="1">
                  <c:v>1.00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B$2:$B$3</c:f>
              <c:numCache>
                <c:formatCode>General</c:formatCode>
                <c:ptCount val="2"/>
                <c:pt idx="0">
                  <c:v>0.4108</c:v>
                </c:pt>
                <c:pt idx="1">
                  <c:v>1.12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C$2:$C$3</c:f>
              <c:numCache>
                <c:formatCode>General</c:formatCode>
                <c:ptCount val="2"/>
                <c:pt idx="0">
                  <c:v>0.2185</c:v>
                </c:pt>
                <c:pt idx="1">
                  <c:v>0.63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D$2:$D$3</c:f>
              <c:numCache>
                <c:formatCode>General</c:formatCode>
                <c:ptCount val="2"/>
                <c:pt idx="0">
                  <c:v>0.3358</c:v>
                </c:pt>
                <c:pt idx="1">
                  <c:v>0.84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B$2:$B$3</c:f>
              <c:numCache>
                <c:formatCode>General</c:formatCode>
                <c:ptCount val="2"/>
                <c:pt idx="0">
                  <c:v>0.0998</c:v>
                </c:pt>
                <c:pt idx="1">
                  <c:v>0.864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C$2:$C$3</c:f>
              <c:numCache>
                <c:formatCode>General</c:formatCode>
                <c:ptCount val="2"/>
                <c:pt idx="0">
                  <c:v>0.1816</c:v>
                </c:pt>
                <c:pt idx="1">
                  <c:v>0.458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D$2:$D$3</c:f>
              <c:numCache>
                <c:formatCode>General</c:formatCode>
                <c:ptCount val="2"/>
                <c:pt idx="0">
                  <c:v>0.2379</c:v>
                </c:pt>
                <c:pt idx="1">
                  <c:v>1.011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B$2:$B$4</c:f>
              <c:numCache>
                <c:formatCode>General</c:formatCode>
                <c:ptCount val="3"/>
                <c:pt idx="0">
                  <c:v>1.1553</c:v>
                </c:pt>
                <c:pt idx="1">
                  <c:v>0.4119</c:v>
                </c:pt>
                <c:pt idx="2">
                  <c:v>0.93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C$2:$C$4</c:f>
              <c:numCache>
                <c:formatCode>General</c:formatCode>
                <c:ptCount val="3"/>
                <c:pt idx="0">
                  <c:v>0.5121</c:v>
                </c:pt>
                <c:pt idx="1">
                  <c:v>0.2423</c:v>
                </c:pt>
                <c:pt idx="2">
                  <c:v>1.14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D$2:$D$4</c:f>
              <c:numCache>
                <c:formatCode>General</c:formatCode>
                <c:ptCount val="3"/>
                <c:pt idx="0">
                  <c:v>0.6534</c:v>
                </c:pt>
                <c:pt idx="1">
                  <c:v>0.3333</c:v>
                </c:pt>
                <c:pt idx="2">
                  <c:v>1.122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B$2:$B$4</c:f>
              <c:numCache>
                <c:formatCode>General</c:formatCode>
                <c:ptCount val="3"/>
                <c:pt idx="0">
                  <c:v>0.8617</c:v>
                </c:pt>
                <c:pt idx="1">
                  <c:v>0.1081</c:v>
                </c:pt>
                <c:pt idx="2">
                  <c:v>0.906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C$2:$C$4</c:f>
              <c:numCache>
                <c:formatCode>General</c:formatCode>
                <c:ptCount val="3"/>
                <c:pt idx="0">
                  <c:v>0.3349</c:v>
                </c:pt>
                <c:pt idx="1">
                  <c:v>0.1875</c:v>
                </c:pt>
                <c:pt idx="2">
                  <c:v>1.25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D$2:$D$4</c:f>
              <c:numCache>
                <c:formatCode>General</c:formatCode>
                <c:ptCount val="3"/>
                <c:pt idx="0">
                  <c:v>0.8626</c:v>
                </c:pt>
                <c:pt idx="1">
                  <c:v>0.249</c:v>
                </c:pt>
                <c:pt idx="2">
                  <c:v>2.06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B$2:$B$4</c:f>
              <c:numCache>
                <c:formatCode>General</c:formatCode>
                <c:ptCount val="3"/>
                <c:pt idx="0">
                  <c:v>1.1561</c:v>
                </c:pt>
                <c:pt idx="1">
                  <c:v>0.4111</c:v>
                </c:pt>
                <c:pt idx="2">
                  <c:v>0.924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C$2:$C$4</c:f>
              <c:numCache>
                <c:formatCode>General</c:formatCode>
                <c:ptCount val="3"/>
                <c:pt idx="0">
                  <c:v>0.5122</c:v>
                </c:pt>
                <c:pt idx="1">
                  <c:v>0.246</c:v>
                </c:pt>
                <c:pt idx="2">
                  <c:v>1.16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D$2:$D$4</c:f>
              <c:numCache>
                <c:formatCode>General</c:formatCode>
                <c:ptCount val="3"/>
                <c:pt idx="0">
                  <c:v>0.6465</c:v>
                </c:pt>
                <c:pt idx="1">
                  <c:v>0.3329</c:v>
                </c:pt>
                <c:pt idx="2">
                  <c:v>1.10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B$2:$B$4</c:f>
              <c:numCache>
                <c:formatCode>General</c:formatCode>
                <c:ptCount val="3"/>
                <c:pt idx="0">
                  <c:v>0.8618</c:v>
                </c:pt>
                <c:pt idx="1">
                  <c:v>0.1103</c:v>
                </c:pt>
                <c:pt idx="2">
                  <c:v>0.90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C$2:$C$4</c:f>
              <c:numCache>
                <c:formatCode>General</c:formatCode>
                <c:ptCount val="3"/>
                <c:pt idx="0">
                  <c:v>0.3349</c:v>
                </c:pt>
                <c:pt idx="1">
                  <c:v>0.189</c:v>
                </c:pt>
                <c:pt idx="2">
                  <c:v>1.25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D$2:$D$4</c:f>
              <c:numCache>
                <c:formatCode>General</c:formatCode>
                <c:ptCount val="3"/>
                <c:pt idx="0">
                  <c:v>0.8665</c:v>
                </c:pt>
                <c:pt idx="1">
                  <c:v>0.2525</c:v>
                </c:pt>
                <c:pt idx="2">
                  <c:v>2.061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B$2:$B$4</c:f>
              <c:numCache>
                <c:formatCode>General</c:formatCode>
                <c:ptCount val="3"/>
                <c:pt idx="0">
                  <c:v>1.1414</c:v>
                </c:pt>
                <c:pt idx="1">
                  <c:v>0.424</c:v>
                </c:pt>
                <c:pt idx="2">
                  <c:v>1.07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C$2:$C$4</c:f>
              <c:numCache>
                <c:formatCode>General</c:formatCode>
                <c:ptCount val="3"/>
                <c:pt idx="0">
                  <c:v>0.511</c:v>
                </c:pt>
                <c:pt idx="1">
                  <c:v>0.22</c:v>
                </c:pt>
                <c:pt idx="2">
                  <c:v>0.94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D$2:$D$4</c:f>
              <c:numCache>
                <c:formatCode>General</c:formatCode>
                <c:ptCount val="3"/>
                <c:pt idx="0">
                  <c:v>0.7675</c:v>
                </c:pt>
                <c:pt idx="1">
                  <c:v>0.3333</c:v>
                </c:pt>
                <c:pt idx="2">
                  <c:v>1.2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B$2:$B$4</c:f>
              <c:numCache>
                <c:formatCode>General</c:formatCode>
                <c:ptCount val="3"/>
                <c:pt idx="0">
                  <c:v>0.864</c:v>
                </c:pt>
                <c:pt idx="1">
                  <c:v>0.0906</c:v>
                </c:pt>
                <c:pt idx="2">
                  <c:v>0.90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C$2:$C$4</c:f>
              <c:numCache>
                <c:formatCode>General</c:formatCode>
                <c:ptCount val="3"/>
                <c:pt idx="0">
                  <c:v>0.335</c:v>
                </c:pt>
                <c:pt idx="1">
                  <c:v>0.1769</c:v>
                </c:pt>
                <c:pt idx="2">
                  <c:v>1.252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D$2:$D$4</c:f>
              <c:numCache>
                <c:formatCode>General</c:formatCode>
                <c:ptCount val="3"/>
                <c:pt idx="0">
                  <c:v>0.8264</c:v>
                </c:pt>
                <c:pt idx="1">
                  <c:v>0.2201</c:v>
                </c:pt>
                <c:pt idx="2">
                  <c:v>2.063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E1170B9-1BD0-4019-B087-A971DB5B0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5BF11A7-42DE-4A55-B2E3-2D239B8BC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46FFB24-3EA1-4F3B-BE2B-458C9C31A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6C3DF02-597D-4FD7-A088-E67F9D93C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1178A9B-1C00-4B8D-8969-01351169A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61CB05F-4F9F-4F7A-A21A-4DEF2AF76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6F0EF37-716E-4707-BBE6-DD9773B0D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E47F3C0-BF54-4250-96B7-EAC7DE899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65</c:v>
                </c:pt>
              </c:numCache>
            </c:numRef>
          </c:xVal>
          <c:yVal>
            <c:numRef>
              <c:f>Sheet1!$B$2:$B$2</c:f>
              <c:numCache>
                <c:formatCode>General</c:formatCode>
                <c:ptCount val="1"/>
                <c:pt idx="0">
                  <c:v>0.7201</c:v>
                </c:pt>
              </c:numCache>
            </c:numRef>
          </c:yVal>
          <c:bubbleSize>
            <c:numRef>
              <c:f>Sheet1!$C$2:$C$2</c:f>
              <c:numCache>
                <c:formatCode>General</c:formatCode>
                <c:ptCount val="1"/>
                <c:pt idx="0">
                  <c:v>4380267.2446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4357999999999997"/>
          <c:min val="0.957199999999999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
        <c:crossBetween val="midCat"/>
      </c:valAx>
      <c:valAx>
        <c:axId val="1011451359"/>
        <c:scaling>
          <c:orientation val="minMax"/>
          <c:max val="1.2241199999999999"/>
          <c:min val="0.336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B$2:$B$4</c:f>
              <c:numCache>
                <c:formatCode>General</c:formatCode>
                <c:ptCount val="3"/>
                <c:pt idx="0">
                  <c:v>1.1536</c:v>
                </c:pt>
                <c:pt idx="1">
                  <c:v>0.4108</c:v>
                </c:pt>
                <c:pt idx="2">
                  <c:v>1.062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C$2:$C$4</c:f>
              <c:numCache>
                <c:formatCode>General</c:formatCode>
                <c:ptCount val="3"/>
                <c:pt idx="0">
                  <c:v>0.512</c:v>
                </c:pt>
                <c:pt idx="1">
                  <c:v>0.2185</c:v>
                </c:pt>
                <c:pt idx="2">
                  <c:v>0.95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D$2:$D$4</c:f>
              <c:numCache>
                <c:formatCode>General</c:formatCode>
                <c:ptCount val="3"/>
                <c:pt idx="0">
                  <c:v>0.6729</c:v>
                </c:pt>
                <c:pt idx="1">
                  <c:v>0.3358</c:v>
                </c:pt>
                <c:pt idx="2">
                  <c:v>1.2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B$2:$B$4</c:f>
              <c:numCache>
                <c:formatCode>General</c:formatCode>
                <c:ptCount val="3"/>
                <c:pt idx="0">
                  <c:v>0.8577</c:v>
                </c:pt>
                <c:pt idx="1">
                  <c:v>0.0998</c:v>
                </c:pt>
                <c:pt idx="2">
                  <c:v>0.905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C$2:$C$4</c:f>
              <c:numCache>
                <c:formatCode>General</c:formatCode>
                <c:ptCount val="3"/>
                <c:pt idx="0">
                  <c:v>0.3344</c:v>
                </c:pt>
                <c:pt idx="1">
                  <c:v>0.1816</c:v>
                </c:pt>
                <c:pt idx="2">
                  <c:v>1.25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D$2:$D$4</c:f>
              <c:numCache>
                <c:formatCode>General</c:formatCode>
                <c:ptCount val="3"/>
                <c:pt idx="0">
                  <c:v>0.8488</c:v>
                </c:pt>
                <c:pt idx="1">
                  <c:v>0.2379</c:v>
                </c:pt>
                <c:pt idx="2">
                  <c:v>2.05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B$2:$B$13</c:f>
              <c:numCache>
                <c:formatCode>General</c:formatCode>
                <c:ptCount val="12"/>
                <c:pt idx="0">
                  <c:v>3.2338951948404397</c:v>
                </c:pt>
                <c:pt idx="1">
                  <c:v>6.851935325602143</c:v>
                </c:pt>
                <c:pt idx="2">
                  <c:v>5.055853692924589</c:v>
                </c:pt>
                <c:pt idx="3">
                  <c:v>2.5421692679824663</c:v>
                </c:pt>
                <c:pt idx="4">
                  <c:v>3.212840593782746</c:v>
                </c:pt>
                <c:pt idx="5">
                  <c:v>5.025506923942544</c:v>
                </c:pt>
                <c:pt idx="6">
                  <c:v>14.210997661380745</c:v>
                </c:pt>
                <c:pt idx="7">
                  <c:v>4.7177</c:v>
                </c:pt>
                <c:pt idx="8">
                  <c:v>4.8102</c:v>
                </c:pt>
                <c:pt idx="9">
                  <c:v>2.6842000000000006</c:v>
                </c:pt>
                <c:pt idx="10">
                  <c:v>4.362660784313727</c:v>
                </c:pt>
                <c:pt idx="11">
                  <c:v>3.6452847457627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C$2:$C$13</c:f>
              <c:numCache>
                <c:formatCode>General</c:formatCode>
                <c:ptCount val="12"/>
                <c:pt idx="0">
                  <c:v>0.97840348493798</c:v>
                </c:pt>
                <c:pt idx="1">
                  <c:v>3.0701073392263396</c:v>
                </c:pt>
                <c:pt idx="2">
                  <c:v>2.7044202431768203</c:v>
                </c:pt>
                <c:pt idx="3">
                  <c:v>1.5464539916872968</c:v>
                </c:pt>
                <c:pt idx="4">
                  <c:v>2.8433297031086266</c:v>
                </c:pt>
                <c:pt idx="5">
                  <c:v>4.5703000000000005</c:v>
                </c:pt>
                <c:pt idx="6">
                  <c:v>6.237651513695339</c:v>
                </c:pt>
                <c:pt idx="7">
                  <c:v>2.7761</c:v>
                </c:pt>
                <c:pt idx="8">
                  <c:v>5.0165</c:v>
                </c:pt>
                <c:pt idx="9">
                  <c:v>1.5422000000000002</c:v>
                </c:pt>
                <c:pt idx="10">
                  <c:v>1.6393843137254902</c:v>
                </c:pt>
                <c:pt idx="11">
                  <c:v>2.39053220338983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D$2:$D$13</c:f>
              <c:numCache>
                <c:formatCode>General</c:formatCode>
                <c:ptCount val="12"/>
                <c:pt idx="0">
                  <c:v>2.3483884101467103</c:v>
                </c:pt>
                <c:pt idx="1">
                  <c:v>4.685078760846647</c:v>
                </c:pt>
                <c:pt idx="2">
                  <c:v>3.3410780494114602</c:v>
                </c:pt>
                <c:pt idx="3">
                  <c:v>2.4553521610756546</c:v>
                </c:pt>
                <c:pt idx="4">
                  <c:v>3.9021842228431716</c:v>
                </c:pt>
                <c:pt idx="5">
                  <c:v>5.5877503673793605</c:v>
                </c:pt>
                <c:pt idx="6">
                  <c:v>5.746769694057345</c:v>
                </c:pt>
                <c:pt idx="7">
                  <c:v>3.6403016238868506</c:v>
                </c:pt>
                <c:pt idx="8">
                  <c:v>5.383490984284535</c:v>
                </c:pt>
                <c:pt idx="9">
                  <c:v>2.3442510388437228</c:v>
                </c:pt>
                <c:pt idx="10">
                  <c:v>1.5255292335115866</c:v>
                </c:pt>
                <c:pt idx="11">
                  <c:v>3.37284595103578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B$2:$B$11</c:f>
              <c:numCache>
                <c:formatCode>General</c:formatCode>
                <c:ptCount val="10"/>
                <c:pt idx="0">
                  <c:v>1.3914279917437642</c:v>
                </c:pt>
                <c:pt idx="1">
                  <c:v>-0.004182630964775597</c:v>
                </c:pt>
                <c:pt idx="2">
                  <c:v>3.731427616800377</c:v>
                </c:pt>
                <c:pt idx="3">
                  <c:v>1.7060376426209658</c:v>
                </c:pt>
                <c:pt idx="4">
                  <c:v>1.1327056411257408</c:v>
                </c:pt>
                <c:pt idx="5">
                  <c:v>0.8628219693309717</c:v>
                </c:pt>
                <c:pt idx="6">
                  <c:v>6.477163045566108</c:v>
                </c:pt>
                <c:pt idx="7">
                  <c:v>0.007283720122692286</c:v>
                </c:pt>
                <c:pt idx="8">
                  <c:v>1.811492131993631</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C$2:$C$11</c:f>
              <c:numCache>
                <c:formatCode>General</c:formatCode>
                <c:ptCount val="10"/>
                <c:pt idx="0">
                  <c:v>1.4418720082562353</c:v>
                </c:pt>
                <c:pt idx="1">
                  <c:v>1.3036357652451591</c:v>
                </c:pt>
                <c:pt idx="2">
                  <c:v>1.3684723831996224</c:v>
                </c:pt>
                <c:pt idx="3">
                  <c:v>1.5962159688911657</c:v>
                </c:pt>
                <c:pt idx="4">
                  <c:v>1.1632943588742595</c:v>
                </c:pt>
                <c:pt idx="5">
                  <c:v>0.9348355467282192</c:v>
                </c:pt>
                <c:pt idx="6">
                  <c:v>2.6577369544338914</c:v>
                </c:pt>
                <c:pt idx="7">
                  <c:v>0.6961612940563691</c:v>
                </c:pt>
                <c:pt idx="8">
                  <c:v>2.506807868006369</c:v>
                </c:pt>
                <c:pt idx="9">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D$2:$D$11</c:f>
              <c:numCache>
                <c:formatCode>General</c:formatCode>
                <c:ptCount val="10"/>
                <c:pt idx="0">
                  <c:v>2.7080953403413917</c:v>
                </c:pt>
                <c:pt idx="1">
                  <c:v>0.8782383366757269</c:v>
                </c:pt>
                <c:pt idx="2">
                  <c:v>3.8343604341670616</c:v>
                </c:pt>
                <c:pt idx="3">
                  <c:v>2.679071955478973</c:v>
                </c:pt>
                <c:pt idx="4">
                  <c:v>1.9032435337331868</c:v>
                </c:pt>
                <c:pt idx="5">
                  <c:v>2.2055028915490187</c:v>
                </c:pt>
                <c:pt idx="6">
                  <c:v>5.989739846334434</c:v>
                </c:pt>
                <c:pt idx="7">
                  <c:v>0.31417707539292106</c:v>
                </c:pt>
                <c:pt idx="8">
                  <c:v>4.108488832152858</c:v>
                </c:pt>
                <c:pt idx="9">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B$2:$B$13</c:f>
              <c:numCache>
                <c:formatCode>General</c:formatCode>
                <c:ptCount val="12"/>
                <c:pt idx="0">
                  <c:v>6.8390522795495094</c:v>
                </c:pt>
                <c:pt idx="1">
                  <c:v>3.233715215106926</c:v>
                </c:pt>
                <c:pt idx="2">
                  <c:v>5.054232970869206</c:v>
                </c:pt>
                <c:pt idx="3">
                  <c:v>14.19104302177007</c:v>
                </c:pt>
                <c:pt idx="4">
                  <c:v>2.541888380255395</c:v>
                </c:pt>
                <c:pt idx="5">
                  <c:v>3.212480951011117</c:v>
                </c:pt>
                <c:pt idx="6">
                  <c:v>5.025910217783153</c:v>
                </c:pt>
                <c:pt idx="7">
                  <c:v>1.7043</c:v>
                </c:pt>
                <c:pt idx="8">
                  <c:v>2.2291999999999996</c:v>
                </c:pt>
                <c:pt idx="9">
                  <c:v>4.7177</c:v>
                </c:pt>
                <c:pt idx="10">
                  <c:v>2.6841999999999997</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C$2:$C$13</c:f>
              <c:numCache>
                <c:formatCode>General</c:formatCode>
                <c:ptCount val="12"/>
                <c:pt idx="0">
                  <c:v>3.067757635848979</c:v>
                </c:pt>
                <c:pt idx="1">
                  <c:v>0.9783543391804891</c:v>
                </c:pt>
                <c:pt idx="2">
                  <c:v>2.7044101916499583</c:v>
                </c:pt>
                <c:pt idx="3">
                  <c:v>6.233489702076728</c:v>
                </c:pt>
                <c:pt idx="4">
                  <c:v>1.5464522231349414</c:v>
                </c:pt>
                <c:pt idx="5">
                  <c:v>2.8435095244944413</c:v>
                </c:pt>
                <c:pt idx="6">
                  <c:v>4.5703</c:v>
                </c:pt>
                <c:pt idx="7">
                  <c:v>4.9948</c:v>
                </c:pt>
                <c:pt idx="8">
                  <c:v>4.3998</c:v>
                </c:pt>
                <c:pt idx="9">
                  <c:v>2.7761</c:v>
                </c:pt>
                <c:pt idx="10">
                  <c:v>1.5421999999999998</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D$2:$D$13</c:f>
              <c:numCache>
                <c:formatCode>General</c:formatCode>
                <c:ptCount val="12"/>
                <c:pt idx="0">
                  <c:v>4.684638127418941</c:v>
                </c:pt>
                <c:pt idx="1">
                  <c:v>2.2777927239644518</c:v>
                </c:pt>
                <c:pt idx="2">
                  <c:v>3.2382940865668104</c:v>
                </c:pt>
                <c:pt idx="3">
                  <c:v>5.777374179174487</c:v>
                </c:pt>
                <c:pt idx="4">
                  <c:v>2.398801040997685</c:v>
                </c:pt>
                <c:pt idx="5">
                  <c:v>3.9013673510708635</c:v>
                </c:pt>
                <c:pt idx="6">
                  <c:v>5.409317070708223</c:v>
                </c:pt>
                <c:pt idx="7">
                  <c:v>1.9202117629885382</c:v>
                </c:pt>
                <c:pt idx="8">
                  <c:v>2.334137826183455</c:v>
                </c:pt>
                <c:pt idx="9">
                  <c:v>3.502975628196574</c:v>
                </c:pt>
                <c:pt idx="10">
                  <c:v>2.2649567847350456</c:v>
                </c:pt>
                <c:pt idx="11">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B$2:$B$11</c:f>
              <c:numCache>
                <c:formatCode>General</c:formatCode>
                <c:ptCount val="10"/>
                <c:pt idx="0">
                  <c:v>1.3913535853264212</c:v>
                </c:pt>
                <c:pt idx="1">
                  <c:v>3.731685929427754</c:v>
                </c:pt>
                <c:pt idx="2">
                  <c:v>-0.0034127103466726418</c:v>
                </c:pt>
                <c:pt idx="3">
                  <c:v>1.7058220196056355</c:v>
                </c:pt>
                <c:pt idx="4">
                  <c:v>1.132846593286125</c:v>
                </c:pt>
                <c:pt idx="5">
                  <c:v>0.862530590935272</c:v>
                </c:pt>
                <c:pt idx="6">
                  <c:v>6.477164216836477</c:v>
                </c:pt>
                <c:pt idx="7">
                  <c:v>1.8129998778625953</c:v>
                </c:pt>
                <c:pt idx="8">
                  <c:v>0.0072931375268884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C$2:$C$11</c:f>
              <c:numCache>
                <c:formatCode>General</c:formatCode>
                <c:ptCount val="10"/>
                <c:pt idx="0">
                  <c:v>1.441946414673579</c:v>
                </c:pt>
                <c:pt idx="1">
                  <c:v>1.3682140705722463</c:v>
                </c:pt>
                <c:pt idx="2">
                  <c:v>1.3028651803297155</c:v>
                </c:pt>
                <c:pt idx="3">
                  <c:v>1.5964314680564011</c:v>
                </c:pt>
                <c:pt idx="4">
                  <c:v>1.1631534067138753</c:v>
                </c:pt>
                <c:pt idx="5">
                  <c:v>0.9351266017294732</c:v>
                </c:pt>
                <c:pt idx="6">
                  <c:v>2.6577357831635235</c:v>
                </c:pt>
                <c:pt idx="7">
                  <c:v>2.5053001221374043</c:v>
                </c:pt>
                <c:pt idx="8">
                  <c:v>0.6961518919650252</c:v>
                </c:pt>
                <c:pt idx="9">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D$2:$D$11</c:f>
              <c:numCache>
                <c:formatCode>General</c:formatCode>
                <c:ptCount val="10"/>
                <c:pt idx="0">
                  <c:v>2.649763853189348</c:v>
                </c:pt>
                <c:pt idx="1">
                  <c:v>3.848679181367342</c:v>
                </c:pt>
                <c:pt idx="2">
                  <c:v>0.877855437315233</c:v>
                </c:pt>
                <c:pt idx="3">
                  <c:v>2.6775867628565373</c:v>
                </c:pt>
                <c:pt idx="4">
                  <c:v>1.8539354866522482</c:v>
                </c:pt>
                <c:pt idx="5">
                  <c:v>2.171707915321968</c:v>
                </c:pt>
                <c:pt idx="6">
                  <c:v>6.255594305470023</c:v>
                </c:pt>
                <c:pt idx="7">
                  <c:v>4.1230529572931705</c:v>
                </c:pt>
                <c:pt idx="8">
                  <c:v>0.29817435980134643</c:v>
                </c:pt>
                <c:pt idx="9">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B$2:$B$13</c:f>
              <c:numCache>
                <c:formatCode>General</c:formatCode>
                <c:ptCount val="12"/>
                <c:pt idx="0">
                  <c:v>6.839531646239956</c:v>
                </c:pt>
                <c:pt idx="1">
                  <c:v>3.233711386309951</c:v>
                </c:pt>
                <c:pt idx="2">
                  <c:v>5.054899165457547</c:v>
                </c:pt>
                <c:pt idx="3">
                  <c:v>14.192114738292009</c:v>
                </c:pt>
                <c:pt idx="4">
                  <c:v>2.542119626734359</c:v>
                </c:pt>
                <c:pt idx="5">
                  <c:v>3.2126581464138413</c:v>
                </c:pt>
                <c:pt idx="6">
                  <c:v>5.02659039075498</c:v>
                </c:pt>
                <c:pt idx="7">
                  <c:v>1.7043</c:v>
                </c:pt>
                <c:pt idx="8">
                  <c:v>2.2291999999999996</c:v>
                </c:pt>
                <c:pt idx="9">
                  <c:v>4.7177</c:v>
                </c:pt>
                <c:pt idx="10">
                  <c:v>2.6842</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C$2:$C$13</c:f>
              <c:numCache>
                <c:formatCode>General</c:formatCode>
                <c:ptCount val="12"/>
                <c:pt idx="0">
                  <c:v>3.067845066222738</c:v>
                </c:pt>
                <c:pt idx="1">
                  <c:v>0.9783532936787319</c:v>
                </c:pt>
                <c:pt idx="2">
                  <c:v>2.704414323310152</c:v>
                </c:pt>
                <c:pt idx="3">
                  <c:v>6.233713223140496</c:v>
                </c:pt>
                <c:pt idx="4">
                  <c:v>1.5464536791312902</c:v>
                </c:pt>
                <c:pt idx="5">
                  <c:v>2.8434209267930792</c:v>
                </c:pt>
                <c:pt idx="6">
                  <c:v>4.5703</c:v>
                </c:pt>
                <c:pt idx="7">
                  <c:v>4.9948</c:v>
                </c:pt>
                <c:pt idx="8">
                  <c:v>4.399799999999999</c:v>
                </c:pt>
                <c:pt idx="9">
                  <c:v>2.7761000000000005</c:v>
                </c:pt>
                <c:pt idx="10">
                  <c:v>1.5422000000000002</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D$2:$D$13</c:f>
              <c:numCache>
                <c:formatCode>General</c:formatCode>
                <c:ptCount val="12"/>
                <c:pt idx="0">
                  <c:v>4.683508421164115</c:v>
                </c:pt>
                <c:pt idx="1">
                  <c:v>2.285114535560834</c:v>
                </c:pt>
                <c:pt idx="2">
                  <c:v>3.247973158553058</c:v>
                </c:pt>
                <c:pt idx="3">
                  <c:v>5.771711167797839</c:v>
                </c:pt>
                <c:pt idx="4">
                  <c:v>2.403455607478132</c:v>
                </c:pt>
                <c:pt idx="5">
                  <c:v>3.9015932615950515</c:v>
                </c:pt>
                <c:pt idx="6">
                  <c:v>5.42089618038381</c:v>
                </c:pt>
                <c:pt idx="7">
                  <c:v>1.9227027413210482</c:v>
                </c:pt>
                <c:pt idx="8">
                  <c:v>2.335967770032089</c:v>
                </c:pt>
                <c:pt idx="9">
                  <c:v>3.516074412807976</c:v>
                </c:pt>
                <c:pt idx="10">
                  <c:v>2.2714615812527894</c:v>
                </c:pt>
                <c:pt idx="11">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B$2:$B$12</c:f>
              <c:numCache>
                <c:formatCode>General</c:formatCode>
                <c:ptCount val="11"/>
                <c:pt idx="0">
                  <c:v>1.391337819208969</c:v>
                </c:pt>
                <c:pt idx="1">
                  <c:v>3.731684971057627</c:v>
                </c:pt>
                <c:pt idx="2">
                  <c:v>-0.003430243957590782</c:v>
                </c:pt>
                <c:pt idx="3">
                  <c:v>1.7056911935876407</c:v>
                </c:pt>
                <c:pt idx="4">
                  <c:v>1.1328696165771632</c:v>
                </c:pt>
                <c:pt idx="5">
                  <c:v>0.8624432843284106</c:v>
                </c:pt>
                <c:pt idx="6">
                  <c:v>6.477163538161375</c:v>
                </c:pt>
                <c:pt idx="7">
                  <c:v>0.0073972645224219475</c:v>
                </c:pt>
                <c:pt idx="8">
                  <c:v>1.8129275374529839</c:v>
                </c:pt>
                <c:pt idx="9">
                  <c:v>8.009000000000002</c:v>
                </c:pt>
                <c:pt idx="10">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C$2:$C$12</c:f>
              <c:numCache>
                <c:formatCode>General</c:formatCode>
                <c:ptCount val="11"/>
                <c:pt idx="0">
                  <c:v>1.4419621807910314</c:v>
                </c:pt>
                <c:pt idx="1">
                  <c:v>1.368215028942373</c:v>
                </c:pt>
                <c:pt idx="2">
                  <c:v>1.3028827290688574</c:v>
                </c:pt>
                <c:pt idx="3">
                  <c:v>1.5965622189302155</c:v>
                </c:pt>
                <c:pt idx="4">
                  <c:v>1.1631303834228373</c:v>
                </c:pt>
                <c:pt idx="5">
                  <c:v>0.9352138114366597</c:v>
                </c:pt>
                <c:pt idx="6">
                  <c:v>2.6577364618386254</c:v>
                </c:pt>
                <c:pt idx="7">
                  <c:v>0.6960479342816795</c:v>
                </c:pt>
                <c:pt idx="8">
                  <c:v>2.5053724625470166</c:v>
                </c:pt>
                <c:pt idx="9">
                  <c:v>3.7053000000000003</c:v>
                </c:pt>
                <c:pt idx="10">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D$2:$D$12</c:f>
              <c:numCache>
                <c:formatCode>General</c:formatCode>
                <c:ptCount val="11"/>
                <c:pt idx="0">
                  <c:v>2.6544815258828254</c:v>
                </c:pt>
                <c:pt idx="1">
                  <c:v>3.8479765070735015</c:v>
                </c:pt>
                <c:pt idx="2">
                  <c:v>0.8778978962155624</c:v>
                </c:pt>
                <c:pt idx="3">
                  <c:v>2.67736377440347</c:v>
                </c:pt>
                <c:pt idx="4">
                  <c:v>1.8581278447161123</c:v>
                </c:pt>
                <c:pt idx="5">
                  <c:v>2.174250147950246</c:v>
                </c:pt>
                <c:pt idx="6">
                  <c:v>6.164408628882589</c:v>
                </c:pt>
                <c:pt idx="7">
                  <c:v>0.3000036054405024</c:v>
                </c:pt>
                <c:pt idx="8">
                  <c:v>4.1225074155841375</c:v>
                </c:pt>
                <c:pt idx="9">
                  <c:v>7.765849191877331</c:v>
                </c:pt>
                <c:pt idx="10">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B$2:$B$12</c:f>
              <c:numCache>
                <c:formatCode>General</c:formatCode>
                <c:ptCount val="11"/>
                <c:pt idx="0">
                  <c:v>6.834024652851955</c:v>
                </c:pt>
                <c:pt idx="1">
                  <c:v>5.061522740760723</c:v>
                </c:pt>
                <c:pt idx="2">
                  <c:v>3.2334426633358953</c:v>
                </c:pt>
                <c:pt idx="3">
                  <c:v>2.5448640435753433</c:v>
                </c:pt>
                <c:pt idx="4">
                  <c:v>3.214683695951529</c:v>
                </c:pt>
                <c:pt idx="5">
                  <c:v>5.040524876695438</c:v>
                </c:pt>
                <c:pt idx="6">
                  <c:v>4.7177</c:v>
                </c:pt>
                <c:pt idx="7">
                  <c:v>2.6842</c:v>
                </c:pt>
                <c:pt idx="8">
                  <c:v>4.8102</c:v>
                </c:pt>
                <c:pt idx="9">
                  <c:v>8.1992</c:v>
                </c:pt>
                <c:pt idx="10">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C$2:$C$12</c:f>
              <c:numCache>
                <c:formatCode>General</c:formatCode>
                <c:ptCount val="11"/>
                <c:pt idx="0">
                  <c:v>3.066840660827458</c:v>
                </c:pt>
                <c:pt idx="1">
                  <c:v>2.7044554019422713</c:v>
                </c:pt>
                <c:pt idx="2">
                  <c:v>0.978279915449654</c:v>
                </c:pt>
                <c:pt idx="3">
                  <c:v>1.546470958792882</c:v>
                </c:pt>
                <c:pt idx="4">
                  <c:v>2.8424081520242357</c:v>
                </c:pt>
                <c:pt idx="5">
                  <c:v>4.5703</c:v>
                </c:pt>
                <c:pt idx="6">
                  <c:v>2.7761</c:v>
                </c:pt>
                <c:pt idx="7">
                  <c:v>1.5422</c:v>
                </c:pt>
                <c:pt idx="8">
                  <c:v>5.0165</c:v>
                </c:pt>
                <c:pt idx="9">
                  <c:v>2.1174999999999997</c:v>
                </c:pt>
                <c:pt idx="10">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D$2:$D$12</c:f>
              <c:numCache>
                <c:formatCode>General</c:formatCode>
                <c:ptCount val="11"/>
                <c:pt idx="0">
                  <c:v>4.6694399772128445</c:v>
                </c:pt>
                <c:pt idx="1">
                  <c:v>3.261581818181818</c:v>
                </c:pt>
                <c:pt idx="2">
                  <c:v>2.299730149884703</c:v>
                </c:pt>
                <c:pt idx="3">
                  <c:v>2.408151879919706</c:v>
                </c:pt>
                <c:pt idx="4">
                  <c:v>3.9038224834756257</c:v>
                </c:pt>
                <c:pt idx="5">
                  <c:v>5.370473931360461</c:v>
                </c:pt>
                <c:pt idx="6">
                  <c:v>3.5501560439560427</c:v>
                </c:pt>
                <c:pt idx="7">
                  <c:v>2.282073205741627</c:v>
                </c:pt>
                <c:pt idx="8">
                  <c:v>5.1944437710437725</c:v>
                </c:pt>
                <c:pt idx="9">
                  <c:v>-4.9168</c:v>
                </c:pt>
                <c:pt idx="10">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B$2:$B$11</c:f>
              <c:numCache>
                <c:formatCode>General</c:formatCode>
                <c:ptCount val="10"/>
                <c:pt idx="0">
                  <c:v>1.3910074025933514</c:v>
                </c:pt>
                <c:pt idx="1">
                  <c:v>3.7319013056942776</c:v>
                </c:pt>
                <c:pt idx="2">
                  <c:v>-0.0028238252861935344</c:v>
                </c:pt>
                <c:pt idx="3">
                  <c:v>1.7034869891422082</c:v>
                </c:pt>
                <c:pt idx="4">
                  <c:v>1.1333460349501125</c:v>
                </c:pt>
                <c:pt idx="5">
                  <c:v>0.008419116543434663</c:v>
                </c:pt>
                <c:pt idx="6">
                  <c:v>0.8609268492640209</c:v>
                </c:pt>
                <c:pt idx="7">
                  <c:v>1.8133430825652657</c:v>
                </c:pt>
                <c:pt idx="8">
                  <c:v>6.47715481105112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C$2:$C$11</c:f>
              <c:numCache>
                <c:formatCode>General</c:formatCode>
                <c:ptCount val="10"/>
                <c:pt idx="0">
                  <c:v>1.4422925974066485</c:v>
                </c:pt>
                <c:pt idx="1">
                  <c:v>1.3679986943057223</c:v>
                </c:pt>
                <c:pt idx="2">
                  <c:v>1.3022757871716868</c:v>
                </c:pt>
                <c:pt idx="3">
                  <c:v>1.5987651573191026</c:v>
                </c:pt>
                <c:pt idx="4">
                  <c:v>1.1626539650498875</c:v>
                </c:pt>
                <c:pt idx="5">
                  <c:v>0.6950277438086686</c:v>
                </c:pt>
                <c:pt idx="6">
                  <c:v>0.9367285634432643</c:v>
                </c:pt>
                <c:pt idx="7">
                  <c:v>2.5049569174347344</c:v>
                </c:pt>
                <c:pt idx="8">
                  <c:v>2.6577451889488724</c:v>
                </c:pt>
                <c:pt idx="9">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D$2:$D$11</c:f>
              <c:numCache>
                <c:formatCode>General</c:formatCode>
                <c:ptCount val="10"/>
                <c:pt idx="0">
                  <c:v>2.66158920546122</c:v>
                </c:pt>
                <c:pt idx="1">
                  <c:v>3.8513384342828445</c:v>
                </c:pt>
                <c:pt idx="2">
                  <c:v>0.8780065175509717</c:v>
                </c:pt>
                <c:pt idx="3">
                  <c:v>2.6723387340501414</c:v>
                </c:pt>
                <c:pt idx="4">
                  <c:v>1.8636544225926142</c:v>
                </c:pt>
                <c:pt idx="5">
                  <c:v>0.30592544320460635</c:v>
                </c:pt>
                <c:pt idx="6">
                  <c:v>2.1783827955350037</c:v>
                </c:pt>
                <c:pt idx="7">
                  <c:v>4.128448081841433</c:v>
                </c:pt>
                <c:pt idx="8">
                  <c:v>5.099460114322007</c:v>
                </c:pt>
                <c:pt idx="9">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F53717C-C875-422C-AA44-741B21D8F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D1D7600-148D-4621-A277-521E16E94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18EB788-BBC4-4313-9A8D-7C4368749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63C7E56-130A-4F74-A3F0-2E84B4F72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9D7743-566D-4ABE-9DFC-473744F0E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710C4E1-2796-480A-BCC1-B85BD54C8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E44BEE4-C0A0-4C29-9184-2FEB2F280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344A7BD-6B6A-4C5B-BFE5-37A160C36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017</c:v>
                </c:pt>
                <c:pt idx="1">
                  <c:v>1.7663</c:v>
                </c:pt>
                <c:pt idx="2">
                  <c:v>1.777</c:v>
                </c:pt>
              </c:numCache>
            </c:numRef>
          </c:xVal>
          <c:yVal>
            <c:numRef>
              <c:f>Sheet1!$B$2:$B$4</c:f>
              <c:numCache>
                <c:formatCode>General</c:formatCode>
                <c:ptCount val="3"/>
                <c:pt idx="0">
                  <c:v>0.6006</c:v>
                </c:pt>
                <c:pt idx="1">
                  <c:v>0.6384</c:v>
                </c:pt>
                <c:pt idx="2">
                  <c:v>0.6291</c:v>
                </c:pt>
              </c:numCache>
            </c:numRef>
          </c:yVal>
          <c:bubbleSize>
            <c:numRef>
              <c:f>Sheet1!$C$2:$C$4</c:f>
              <c:numCache>
                <c:formatCode>General</c:formatCode>
                <c:ptCount val="3"/>
                <c:pt idx="0">
                  <c:v>9131649.962499999</c:v>
                </c:pt>
                <c:pt idx="1">
                  <c:v>558770.2105</c:v>
                </c:pt>
                <c:pt idx="2">
                  <c:v>456825.02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6204"/>
          <c:min val="1.413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39645611711172"/>
        <c:crossBetween val="midCat"/>
      </c:valAx>
      <c:valAx>
        <c:axId val="1011451359"/>
        <c:scaling>
          <c:orientation val="minMax"/>
          <c:max val="1.1260799999999997"/>
          <c:min val="0.2404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9863867222303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B$2:$B$12</c:f>
              <c:numCache>
                <c:formatCode>General</c:formatCode>
                <c:ptCount val="11"/>
                <c:pt idx="0">
                  <c:v>6.8390522795495094</c:v>
                </c:pt>
                <c:pt idx="1">
                  <c:v>14.19104302177007</c:v>
                </c:pt>
                <c:pt idx="2">
                  <c:v>3.212480951011117</c:v>
                </c:pt>
                <c:pt idx="3">
                  <c:v>1.7043</c:v>
                </c:pt>
                <c:pt idx="4">
                  <c:v>3.6424507269253144</c:v>
                </c:pt>
                <c:pt idx="5">
                  <c:v>4.3638916493596405</c:v>
                </c:pt>
                <c:pt idx="6">
                  <c:v>3.5132081313391774</c:v>
                </c:pt>
                <c:pt idx="7">
                  <c:v>6.342539987038238</c:v>
                </c:pt>
                <c:pt idx="8">
                  <c:v>8.1992</c:v>
                </c:pt>
                <c:pt idx="9">
                  <c:v>3.6566</c:v>
                </c:pt>
                <c:pt idx="10">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C$2:$C$12</c:f>
              <c:numCache>
                <c:formatCode>General</c:formatCode>
                <c:ptCount val="11"/>
                <c:pt idx="0">
                  <c:v>3.067757635848979</c:v>
                </c:pt>
                <c:pt idx="1">
                  <c:v>6.233489702076728</c:v>
                </c:pt>
                <c:pt idx="2">
                  <c:v>2.8435095244944413</c:v>
                </c:pt>
                <c:pt idx="3">
                  <c:v>4.9948</c:v>
                </c:pt>
                <c:pt idx="4">
                  <c:v>2.390709329567168</c:v>
                </c:pt>
                <c:pt idx="5">
                  <c:v>1.6381610938040845</c:v>
                </c:pt>
                <c:pt idx="6">
                  <c:v>5.942967801272133</c:v>
                </c:pt>
                <c:pt idx="7">
                  <c:v>2.537953920933247</c:v>
                </c:pt>
                <c:pt idx="8">
                  <c:v>2.1174999999999997</c:v>
                </c:pt>
                <c:pt idx="9">
                  <c:v>2.3597000000000006</c:v>
                </c:pt>
                <c:pt idx="10">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D$2:$D$12</c:f>
              <c:numCache>
                <c:formatCode>General</c:formatCode>
                <c:ptCount val="11"/>
                <c:pt idx="0">
                  <c:v>4.684638127418941</c:v>
                </c:pt>
                <c:pt idx="1">
                  <c:v>5.777374179174487</c:v>
                </c:pt>
                <c:pt idx="2">
                  <c:v>3.9013673510708635</c:v>
                </c:pt>
                <c:pt idx="3">
                  <c:v>1.9202117629885382</c:v>
                </c:pt>
                <c:pt idx="4">
                  <c:v>3.5119923901304313</c:v>
                </c:pt>
                <c:pt idx="5">
                  <c:v>2.383673624091382</c:v>
                </c:pt>
                <c:pt idx="6">
                  <c:v>5.474272769468797</c:v>
                </c:pt>
                <c:pt idx="7">
                  <c:v>4.707410499027867</c:v>
                </c:pt>
                <c:pt idx="8">
                  <c:v>-4.032519063545149</c:v>
                </c:pt>
                <c:pt idx="9">
                  <c:v>-2.3883930232558144</c:v>
                </c:pt>
                <c:pt idx="10">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B$2:$B$5</c:f>
              <c:numCache>
                <c:formatCode>General</c:formatCode>
                <c:ptCount val="4"/>
                <c:pt idx="0">
                  <c:v>3.731685929427754</c:v>
                </c:pt>
                <c:pt idx="1">
                  <c:v>6.477164216836477</c:v>
                </c:pt>
                <c:pt idx="2">
                  <c:v>1.8129998778625953</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C$2:$C$5</c:f>
              <c:numCache>
                <c:formatCode>General</c:formatCode>
                <c:ptCount val="4"/>
                <c:pt idx="0">
                  <c:v>1.3682140705722463</c:v>
                </c:pt>
                <c:pt idx="1">
                  <c:v>2.6577357831635235</c:v>
                </c:pt>
                <c:pt idx="2">
                  <c:v>2.5053001221374043</c:v>
                </c:pt>
                <c:pt idx="3">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D$2:$D$5</c:f>
              <c:numCache>
                <c:formatCode>General</c:formatCode>
                <c:ptCount val="4"/>
                <c:pt idx="0">
                  <c:v>3.848679181367342</c:v>
                </c:pt>
                <c:pt idx="1">
                  <c:v>6.255594305470023</c:v>
                </c:pt>
                <c:pt idx="2">
                  <c:v>4.1230529572931705</c:v>
                </c:pt>
                <c:pt idx="3">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B$2:$B$5</c:f>
              <c:numCache>
                <c:formatCode>General</c:formatCode>
                <c:ptCount val="4"/>
                <c:pt idx="0">
                  <c:v>6.834024652851955</c:v>
                </c:pt>
                <c:pt idx="1">
                  <c:v>3.214683695951529</c:v>
                </c:pt>
                <c:pt idx="2">
                  <c:v>8.1992</c:v>
                </c:pt>
                <c:pt idx="3">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C$2:$C$5</c:f>
              <c:numCache>
                <c:formatCode>General</c:formatCode>
                <c:ptCount val="4"/>
                <c:pt idx="0">
                  <c:v>3.066840660827458</c:v>
                </c:pt>
                <c:pt idx="1">
                  <c:v>2.8424081520242357</c:v>
                </c:pt>
                <c:pt idx="2">
                  <c:v>2.1174999999999997</c:v>
                </c:pt>
                <c:pt idx="3">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D$2:$D$5</c:f>
              <c:numCache>
                <c:formatCode>General</c:formatCode>
                <c:ptCount val="4"/>
                <c:pt idx="0">
                  <c:v>4.6694399772128445</c:v>
                </c:pt>
                <c:pt idx="1">
                  <c:v>3.9038224834756257</c:v>
                </c:pt>
                <c:pt idx="2">
                  <c:v>-4.9168</c:v>
                </c:pt>
                <c:pt idx="3">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B$2:$B$5</c:f>
              <c:numCache>
                <c:formatCode>General</c:formatCode>
                <c:ptCount val="4"/>
                <c:pt idx="0">
                  <c:v>3.7319013056942776</c:v>
                </c:pt>
                <c:pt idx="1">
                  <c:v>1.8133430825652657</c:v>
                </c:pt>
                <c:pt idx="2">
                  <c:v>6.477154811051128</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C$2:$C$5</c:f>
              <c:numCache>
                <c:formatCode>General</c:formatCode>
                <c:ptCount val="4"/>
                <c:pt idx="0">
                  <c:v>1.3679986943057223</c:v>
                </c:pt>
                <c:pt idx="1">
                  <c:v>2.5049569174347344</c:v>
                </c:pt>
                <c:pt idx="2">
                  <c:v>2.6577451889488724</c:v>
                </c:pt>
                <c:pt idx="3">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D$2:$D$5</c:f>
              <c:numCache>
                <c:formatCode>General</c:formatCode>
                <c:ptCount val="4"/>
                <c:pt idx="0">
                  <c:v>3.8513384342828445</c:v>
                </c:pt>
                <c:pt idx="1">
                  <c:v>4.128448081841433</c:v>
                </c:pt>
                <c:pt idx="2">
                  <c:v>5.099460114322007</c:v>
                </c:pt>
                <c:pt idx="3">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B$2:$B$8</c:f>
              <c:numCache>
                <c:formatCode>General</c:formatCode>
                <c:ptCount val="7"/>
                <c:pt idx="0">
                  <c:v>6.851935325602143</c:v>
                </c:pt>
                <c:pt idx="1">
                  <c:v>3.212840593782746</c:v>
                </c:pt>
                <c:pt idx="2">
                  <c:v>14.210997661380745</c:v>
                </c:pt>
                <c:pt idx="3">
                  <c:v>4.362660784313727</c:v>
                </c:pt>
                <c:pt idx="4">
                  <c:v>3.645284745762712</c:v>
                </c:pt>
                <c:pt idx="5">
                  <c:v>1.7043</c:v>
                </c:pt>
                <c:pt idx="6">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C$2:$C$8</c:f>
              <c:numCache>
                <c:formatCode>General</c:formatCode>
                <c:ptCount val="7"/>
                <c:pt idx="0">
                  <c:v>3.0701073392263396</c:v>
                </c:pt>
                <c:pt idx="1">
                  <c:v>2.8433297031086266</c:v>
                </c:pt>
                <c:pt idx="2">
                  <c:v>6.237651513695339</c:v>
                </c:pt>
                <c:pt idx="3">
                  <c:v>1.6393843137254902</c:v>
                </c:pt>
                <c:pt idx="4">
                  <c:v>2.3905322033898306</c:v>
                </c:pt>
                <c:pt idx="5">
                  <c:v>4.994799999999999</c:v>
                </c:pt>
                <c:pt idx="6">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D$2:$D$8</c:f>
              <c:numCache>
                <c:formatCode>General</c:formatCode>
                <c:ptCount val="7"/>
                <c:pt idx="0">
                  <c:v>4.685078760846647</c:v>
                </c:pt>
                <c:pt idx="1">
                  <c:v>3.9021842228431716</c:v>
                </c:pt>
                <c:pt idx="2">
                  <c:v>5.746769694057345</c:v>
                </c:pt>
                <c:pt idx="3">
                  <c:v>1.5255292335115866</c:v>
                </c:pt>
                <c:pt idx="4">
                  <c:v>3.3728459510357807</c:v>
                </c:pt>
                <c:pt idx="5">
                  <c:v>2.7587833693304535</c:v>
                </c:pt>
                <c:pt idx="6">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E$2:$E$8</c:f>
              <c:numCache>
                <c:formatCode>General</c:formatCode>
                <c:ptCount val="7"/>
                <c:pt idx="0">
                  <c:v>0.0</c:v>
                </c:pt>
                <c:pt idx="1">
                  <c:v>0.0</c:v>
                </c:pt>
                <c:pt idx="2">
                  <c:v>0.0</c:v>
                </c:pt>
                <c:pt idx="3">
                  <c:v>0.0</c:v>
                </c:pt>
                <c:pt idx="4">
                  <c:v>0.0</c:v>
                </c:pt>
                <c:pt idx="5">
                  <c:v>0.0</c:v>
                </c:pt>
                <c:pt idx="6">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B$2:$B$5</c:f>
              <c:numCache>
                <c:formatCode>General</c:formatCode>
                <c:ptCount val="4"/>
                <c:pt idx="0">
                  <c:v>3.731427616800377</c:v>
                </c:pt>
                <c:pt idx="1">
                  <c:v>6.477163045566108</c:v>
                </c:pt>
                <c:pt idx="2">
                  <c:v>1.811492131993631</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C$2:$C$5</c:f>
              <c:numCache>
                <c:formatCode>General</c:formatCode>
                <c:ptCount val="4"/>
                <c:pt idx="0">
                  <c:v>1.3684723831996224</c:v>
                </c:pt>
                <c:pt idx="1">
                  <c:v>2.6577369544338914</c:v>
                </c:pt>
                <c:pt idx="2">
                  <c:v>2.506807868006369</c:v>
                </c:pt>
                <c:pt idx="3">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D$2:$D$5</c:f>
              <c:numCache>
                <c:formatCode>General</c:formatCode>
                <c:ptCount val="4"/>
                <c:pt idx="0">
                  <c:v>3.8343604341670616</c:v>
                </c:pt>
                <c:pt idx="1">
                  <c:v>5.989739846334434</c:v>
                </c:pt>
                <c:pt idx="2">
                  <c:v>4.108488832152858</c:v>
                </c:pt>
                <c:pt idx="3">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B$2:$B$12</c:f>
              <c:numCache>
                <c:formatCode>General</c:formatCode>
                <c:ptCount val="11"/>
                <c:pt idx="0">
                  <c:v>6.839531646239956</c:v>
                </c:pt>
                <c:pt idx="1">
                  <c:v>14.192114738292009</c:v>
                </c:pt>
                <c:pt idx="2">
                  <c:v>3.2126581464138413</c:v>
                </c:pt>
                <c:pt idx="3">
                  <c:v>1.7043</c:v>
                </c:pt>
                <c:pt idx="4">
                  <c:v>3.642571242245906</c:v>
                </c:pt>
                <c:pt idx="5">
                  <c:v>4.363833966000991</c:v>
                </c:pt>
                <c:pt idx="6">
                  <c:v>3.513407984599932</c:v>
                </c:pt>
                <c:pt idx="7">
                  <c:v>6.320834774436092</c:v>
                </c:pt>
                <c:pt idx="8">
                  <c:v>8.1992</c:v>
                </c:pt>
                <c:pt idx="9">
                  <c:v>3.6566000000000005</c:v>
                </c:pt>
                <c:pt idx="10">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C$2:$C$12</c:f>
              <c:numCache>
                <c:formatCode>General</c:formatCode>
                <c:ptCount val="11"/>
                <c:pt idx="0">
                  <c:v>3.067845066222738</c:v>
                </c:pt>
                <c:pt idx="1">
                  <c:v>6.233713223140496</c:v>
                </c:pt>
                <c:pt idx="2">
                  <c:v>2.8434209267930792</c:v>
                </c:pt>
                <c:pt idx="3">
                  <c:v>4.9948</c:v>
                </c:pt>
                <c:pt idx="4">
                  <c:v>2.390701797359631</c:v>
                </c:pt>
                <c:pt idx="5">
                  <c:v>1.6382184188810034</c:v>
                </c:pt>
                <c:pt idx="6">
                  <c:v>5.943010227653164</c:v>
                </c:pt>
                <c:pt idx="7">
                  <c:v>2.536511904761905</c:v>
                </c:pt>
                <c:pt idx="8">
                  <c:v>2.1175</c:v>
                </c:pt>
                <c:pt idx="9">
                  <c:v>2.3597</c:v>
                </c:pt>
                <c:pt idx="10">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D$2:$D$12</c:f>
              <c:numCache>
                <c:formatCode>General</c:formatCode>
                <c:ptCount val="11"/>
                <c:pt idx="0">
                  <c:v>4.683508421164115</c:v>
                </c:pt>
                <c:pt idx="1">
                  <c:v>5.771711167797839</c:v>
                </c:pt>
                <c:pt idx="2">
                  <c:v>3.9015932615950515</c:v>
                </c:pt>
                <c:pt idx="3">
                  <c:v>1.9227027413210482</c:v>
                </c:pt>
                <c:pt idx="4">
                  <c:v>3.505060028630509</c:v>
                </c:pt>
                <c:pt idx="5">
                  <c:v>2.3440792374979385</c:v>
                </c:pt>
                <c:pt idx="6">
                  <c:v>5.477194877803816</c:v>
                </c:pt>
                <c:pt idx="7">
                  <c:v>4.677202474937342</c:v>
                </c:pt>
                <c:pt idx="8">
                  <c:v>-4.146964765525983</c:v>
                </c:pt>
                <c:pt idx="9">
                  <c:v>-2.4417807692307667</c:v>
                </c:pt>
                <c:pt idx="10">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B$2:$B$6</c:f>
              <c:numCache>
                <c:formatCode>General</c:formatCode>
                <c:ptCount val="5"/>
                <c:pt idx="0">
                  <c:v>3.731684971057627</c:v>
                </c:pt>
                <c:pt idx="1">
                  <c:v>6.477163538161375</c:v>
                </c:pt>
                <c:pt idx="2">
                  <c:v>1.8129275374529839</c:v>
                </c:pt>
                <c:pt idx="3">
                  <c:v>8.009000000000002</c:v>
                </c:pt>
                <c:pt idx="4">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C$2:$C$6</c:f>
              <c:numCache>
                <c:formatCode>General</c:formatCode>
                <c:ptCount val="5"/>
                <c:pt idx="0">
                  <c:v>1.368215028942373</c:v>
                </c:pt>
                <c:pt idx="1">
                  <c:v>2.6577364618386254</c:v>
                </c:pt>
                <c:pt idx="2">
                  <c:v>2.5053724625470166</c:v>
                </c:pt>
                <c:pt idx="3">
                  <c:v>3.7053000000000003</c:v>
                </c:pt>
                <c:pt idx="4">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D$2:$D$6</c:f>
              <c:numCache>
                <c:formatCode>General</c:formatCode>
                <c:ptCount val="5"/>
                <c:pt idx="0">
                  <c:v>3.8479765070735015</c:v>
                </c:pt>
                <c:pt idx="1">
                  <c:v>6.164408628882589</c:v>
                </c:pt>
                <c:pt idx="2">
                  <c:v>4.1225074155841375</c:v>
                </c:pt>
                <c:pt idx="3">
                  <c:v>7.765849191877331</c:v>
                </c:pt>
                <c:pt idx="4">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B$2:$B$9</c:f>
              <c:numCache>
                <c:formatCode>General</c:formatCode>
                <c:ptCount val="8"/>
                <c:pt idx="0">
                  <c:v>3.233711386309951</c:v>
                </c:pt>
                <c:pt idx="1">
                  <c:v>5.054899165457547</c:v>
                </c:pt>
                <c:pt idx="2">
                  <c:v>2.542119626734359</c:v>
                </c:pt>
                <c:pt idx="3">
                  <c:v>5.02659039075498</c:v>
                </c:pt>
                <c:pt idx="4">
                  <c:v>2.2291999999999996</c:v>
                </c:pt>
                <c:pt idx="5">
                  <c:v>4.7177</c:v>
                </c:pt>
                <c:pt idx="6">
                  <c:v>2.6842</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C$2:$C$9</c:f>
              <c:numCache>
                <c:formatCode>General</c:formatCode>
                <c:ptCount val="8"/>
                <c:pt idx="0">
                  <c:v>0.9783532936787319</c:v>
                </c:pt>
                <c:pt idx="1">
                  <c:v>2.704414323310152</c:v>
                </c:pt>
                <c:pt idx="2">
                  <c:v>1.5464536791312902</c:v>
                </c:pt>
                <c:pt idx="3">
                  <c:v>4.5703</c:v>
                </c:pt>
                <c:pt idx="4">
                  <c:v>4.399799999999999</c:v>
                </c:pt>
                <c:pt idx="5">
                  <c:v>2.7761000000000005</c:v>
                </c:pt>
                <c:pt idx="6">
                  <c:v>1.5422000000000002</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D$2:$D$9</c:f>
              <c:numCache>
                <c:formatCode>General</c:formatCode>
                <c:ptCount val="8"/>
                <c:pt idx="0">
                  <c:v>2.285114535560834</c:v>
                </c:pt>
                <c:pt idx="1">
                  <c:v>3.247973158553058</c:v>
                </c:pt>
                <c:pt idx="2">
                  <c:v>2.403455607478132</c:v>
                </c:pt>
                <c:pt idx="3">
                  <c:v>5.42089618038381</c:v>
                </c:pt>
                <c:pt idx="4">
                  <c:v>2.335967770032089</c:v>
                </c:pt>
                <c:pt idx="5">
                  <c:v>3.516074412807976</c:v>
                </c:pt>
                <c:pt idx="6">
                  <c:v>2.2714615812527894</c:v>
                </c:pt>
                <c:pt idx="7">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37819208969</c:v>
                </c:pt>
                <c:pt idx="1">
                  <c:v>-0.003430243957590782</c:v>
                </c:pt>
                <c:pt idx="2">
                  <c:v>1.7056911935876407</c:v>
                </c:pt>
                <c:pt idx="3">
                  <c:v>1.1328696165771632</c:v>
                </c:pt>
                <c:pt idx="4">
                  <c:v>0.8624432843284106</c:v>
                </c:pt>
                <c:pt idx="5">
                  <c:v>0.007397264522421947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621807910314</c:v>
                </c:pt>
                <c:pt idx="1">
                  <c:v>1.3028827290688574</c:v>
                </c:pt>
                <c:pt idx="2">
                  <c:v>1.5965622189302155</c:v>
                </c:pt>
                <c:pt idx="3">
                  <c:v>1.1631303834228373</c:v>
                </c:pt>
                <c:pt idx="4">
                  <c:v>0.9352138114366597</c:v>
                </c:pt>
                <c:pt idx="5">
                  <c:v>0.69604793428167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544815258828254</c:v>
                </c:pt>
                <c:pt idx="1">
                  <c:v>0.8778978962155624</c:v>
                </c:pt>
                <c:pt idx="2">
                  <c:v>2.67736377440347</c:v>
                </c:pt>
                <c:pt idx="3">
                  <c:v>1.8581278447161123</c:v>
                </c:pt>
                <c:pt idx="4">
                  <c:v>2.174250147950246</c:v>
                </c:pt>
                <c:pt idx="5">
                  <c:v>0.300003605440502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FDD1061-4411-4ED8-90AE-CBFB1D976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55F3379-A081-4340-914D-D2D3BB0E0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9C414DC-E335-4ADB-82AC-C5C7020D3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2EA2FD7-8F65-41BF-A5FC-22602EA19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1993E51-B926-49B4-9BC7-581C1134C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40BD956-C0DB-40FF-B623-1689B9B37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0699A81-F199-4273-9569-03C351F28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F1322D1-6561-4C4E-A032-F78C16407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24</c:v>
                </c:pt>
                <c:pt idx="1">
                  <c:v>1.3228</c:v>
                </c:pt>
                <c:pt idx="2">
                  <c:v>1.3365</c:v>
                </c:pt>
              </c:numCache>
            </c:numRef>
          </c:xVal>
          <c:yVal>
            <c:numRef>
              <c:f>Sheet1!$B$2:$B$4</c:f>
              <c:numCache>
                <c:formatCode>General</c:formatCode>
                <c:ptCount val="3"/>
                <c:pt idx="0">
                  <c:v>0.6553</c:v>
                </c:pt>
                <c:pt idx="1">
                  <c:v>0.6533</c:v>
                </c:pt>
                <c:pt idx="2">
                  <c:v>0.6511</c:v>
                </c:pt>
              </c:numCache>
            </c:numRef>
          </c:yVal>
          <c:bubbleSize>
            <c:numRef>
              <c:f>Sheet1!$C$2:$C$4</c:f>
              <c:numCache>
                <c:formatCode>General</c:formatCode>
                <c:ptCount val="3"/>
                <c:pt idx="0">
                  <c:v>4851507.5233000005</c:v>
                </c:pt>
                <c:pt idx="1">
                  <c:v>356505.122</c:v>
                </c:pt>
                <c:pt idx="2">
                  <c:v>386945.9783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038"/>
          <c:min val="1.0582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8820910375681"/>
        <c:crossBetween val="midCat"/>
      </c:valAx>
      <c:valAx>
        <c:axId val="1011451359"/>
        <c:scaling>
          <c:orientation val="minMax"/>
          <c:max val="1.14636"/>
          <c:min val="0.280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78803417149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B$2:$B$9</c:f>
              <c:numCache>
                <c:formatCode>General</c:formatCode>
                <c:ptCount val="8"/>
                <c:pt idx="0">
                  <c:v>3.2338951948404397</c:v>
                </c:pt>
                <c:pt idx="1">
                  <c:v>5.055853692924589</c:v>
                </c:pt>
                <c:pt idx="2">
                  <c:v>2.5421692679824663</c:v>
                </c:pt>
                <c:pt idx="3">
                  <c:v>5.025506923942544</c:v>
                </c:pt>
                <c:pt idx="4">
                  <c:v>4.7177</c:v>
                </c:pt>
                <c:pt idx="5">
                  <c:v>4.8102</c:v>
                </c:pt>
                <c:pt idx="6">
                  <c:v>2.6842000000000006</c:v>
                </c:pt>
                <c:pt idx="7">
                  <c:v>2.22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C$2:$C$9</c:f>
              <c:numCache>
                <c:formatCode>General</c:formatCode>
                <c:ptCount val="8"/>
                <c:pt idx="0">
                  <c:v>0.97840348493798</c:v>
                </c:pt>
                <c:pt idx="1">
                  <c:v>2.7044202431768203</c:v>
                </c:pt>
                <c:pt idx="2">
                  <c:v>1.5464539916872968</c:v>
                </c:pt>
                <c:pt idx="3">
                  <c:v>4.5703000000000005</c:v>
                </c:pt>
                <c:pt idx="4">
                  <c:v>2.7761</c:v>
                </c:pt>
                <c:pt idx="5">
                  <c:v>5.0165</c:v>
                </c:pt>
                <c:pt idx="6">
                  <c:v>1.5422000000000002</c:v>
                </c:pt>
                <c:pt idx="7">
                  <c:v>4.3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D$2:$D$9</c:f>
              <c:numCache>
                <c:formatCode>General</c:formatCode>
                <c:ptCount val="8"/>
                <c:pt idx="0">
                  <c:v>2.3483884101467103</c:v>
                </c:pt>
                <c:pt idx="1">
                  <c:v>3.3410780494114602</c:v>
                </c:pt>
                <c:pt idx="2">
                  <c:v>2.4553521610756546</c:v>
                </c:pt>
                <c:pt idx="3">
                  <c:v>5.5877503673793605</c:v>
                </c:pt>
                <c:pt idx="4">
                  <c:v>3.6403016238868506</c:v>
                </c:pt>
                <c:pt idx="5">
                  <c:v>5.383490984284535</c:v>
                </c:pt>
                <c:pt idx="6">
                  <c:v>2.3442510388437228</c:v>
                </c:pt>
                <c:pt idx="7">
                  <c:v>2.97549560439560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B$2:$B$7</c:f>
              <c:numCache>
                <c:formatCode>General</c:formatCode>
                <c:ptCount val="6"/>
                <c:pt idx="0">
                  <c:v>1.3914279917437642</c:v>
                </c:pt>
                <c:pt idx="1">
                  <c:v>-0.004182630964775597</c:v>
                </c:pt>
                <c:pt idx="2">
                  <c:v>1.7060376426209658</c:v>
                </c:pt>
                <c:pt idx="3">
                  <c:v>1.1327056411257408</c:v>
                </c:pt>
                <c:pt idx="4">
                  <c:v>0.8628219693309717</c:v>
                </c:pt>
                <c:pt idx="5">
                  <c:v>0.0072837201226922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C$2:$C$7</c:f>
              <c:numCache>
                <c:formatCode>General</c:formatCode>
                <c:ptCount val="6"/>
                <c:pt idx="0">
                  <c:v>1.4418720082562353</c:v>
                </c:pt>
                <c:pt idx="1">
                  <c:v>1.3036357652451591</c:v>
                </c:pt>
                <c:pt idx="2">
                  <c:v>1.5962159688911657</c:v>
                </c:pt>
                <c:pt idx="3">
                  <c:v>1.1632943588742595</c:v>
                </c:pt>
                <c:pt idx="4">
                  <c:v>0.9348355467282192</c:v>
                </c:pt>
                <c:pt idx="5">
                  <c:v>0.696161294056369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D$2:$D$7</c:f>
              <c:numCache>
                <c:formatCode>General</c:formatCode>
                <c:ptCount val="6"/>
                <c:pt idx="0">
                  <c:v>2.7080953403413917</c:v>
                </c:pt>
                <c:pt idx="1">
                  <c:v>0.8782383366757269</c:v>
                </c:pt>
                <c:pt idx="2">
                  <c:v>2.679071955478973</c:v>
                </c:pt>
                <c:pt idx="3">
                  <c:v>1.9032435337331868</c:v>
                </c:pt>
                <c:pt idx="4">
                  <c:v>2.2055028915490187</c:v>
                </c:pt>
                <c:pt idx="5">
                  <c:v>0.314177075392921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B$2:$B$8</c:f>
              <c:numCache>
                <c:formatCode>General</c:formatCode>
                <c:ptCount val="7"/>
                <c:pt idx="0">
                  <c:v>5.061522740760723</c:v>
                </c:pt>
                <c:pt idx="1">
                  <c:v>3.2334426633358953</c:v>
                </c:pt>
                <c:pt idx="2">
                  <c:v>2.5448640435753433</c:v>
                </c:pt>
                <c:pt idx="3">
                  <c:v>5.040524876695438</c:v>
                </c:pt>
                <c:pt idx="4">
                  <c:v>4.7177</c:v>
                </c:pt>
                <c:pt idx="5">
                  <c:v>2.6842</c:v>
                </c:pt>
                <c:pt idx="6">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C$2:$C$8</c:f>
              <c:numCache>
                <c:formatCode>General</c:formatCode>
                <c:ptCount val="7"/>
                <c:pt idx="0">
                  <c:v>2.7044554019422713</c:v>
                </c:pt>
                <c:pt idx="1">
                  <c:v>0.978279915449654</c:v>
                </c:pt>
                <c:pt idx="2">
                  <c:v>1.546470958792882</c:v>
                </c:pt>
                <c:pt idx="3">
                  <c:v>4.5703</c:v>
                </c:pt>
                <c:pt idx="4">
                  <c:v>2.7761</c:v>
                </c:pt>
                <c:pt idx="5">
                  <c:v>1.5422</c:v>
                </c:pt>
                <c:pt idx="6">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D$2:$D$8</c:f>
              <c:numCache>
                <c:formatCode>General</c:formatCode>
                <c:ptCount val="7"/>
                <c:pt idx="0">
                  <c:v>3.261581818181818</c:v>
                </c:pt>
                <c:pt idx="1">
                  <c:v>2.299730149884703</c:v>
                </c:pt>
                <c:pt idx="2">
                  <c:v>2.408151879919706</c:v>
                </c:pt>
                <c:pt idx="3">
                  <c:v>5.370473931360461</c:v>
                </c:pt>
                <c:pt idx="4">
                  <c:v>3.5501560439560427</c:v>
                </c:pt>
                <c:pt idx="5">
                  <c:v>2.282073205741627</c:v>
                </c:pt>
                <c:pt idx="6">
                  <c:v>5.19444377104377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E$2:$E$8</c:f>
              <c:numCache>
                <c:formatCode>General</c:formatCode>
                <c:ptCount val="7"/>
                <c:pt idx="0">
                  <c:v>0.0</c:v>
                </c:pt>
                <c:pt idx="1">
                  <c:v>0.0</c:v>
                </c:pt>
                <c:pt idx="2">
                  <c:v>0.0</c:v>
                </c:pt>
                <c:pt idx="3">
                  <c:v>0.0</c:v>
                </c:pt>
                <c:pt idx="4">
                  <c:v>0.0</c:v>
                </c:pt>
                <c:pt idx="5">
                  <c:v>0.0</c:v>
                </c:pt>
                <c:pt idx="6">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B$2:$B$7</c:f>
              <c:numCache>
                <c:formatCode>General</c:formatCode>
                <c:ptCount val="6"/>
                <c:pt idx="0">
                  <c:v>1.3910074025933514</c:v>
                </c:pt>
                <c:pt idx="1">
                  <c:v>-0.0028238252861935344</c:v>
                </c:pt>
                <c:pt idx="2">
                  <c:v>1.7034869891422082</c:v>
                </c:pt>
                <c:pt idx="3">
                  <c:v>1.1333460349501125</c:v>
                </c:pt>
                <c:pt idx="4">
                  <c:v>0.008419116543434663</c:v>
                </c:pt>
                <c:pt idx="5">
                  <c:v>0.86092684926402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C$2:$C$7</c:f>
              <c:numCache>
                <c:formatCode>General</c:formatCode>
                <c:ptCount val="6"/>
                <c:pt idx="0">
                  <c:v>1.4422925974066485</c:v>
                </c:pt>
                <c:pt idx="1">
                  <c:v>1.3022757871716868</c:v>
                </c:pt>
                <c:pt idx="2">
                  <c:v>1.5987651573191026</c:v>
                </c:pt>
                <c:pt idx="3">
                  <c:v>1.1626539650498875</c:v>
                </c:pt>
                <c:pt idx="4">
                  <c:v>0.6950277438086686</c:v>
                </c:pt>
                <c:pt idx="5">
                  <c:v>0.93672856344326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D$2:$D$7</c:f>
              <c:numCache>
                <c:formatCode>General</c:formatCode>
                <c:ptCount val="6"/>
                <c:pt idx="0">
                  <c:v>2.66158920546122</c:v>
                </c:pt>
                <c:pt idx="1">
                  <c:v>0.8780065175509717</c:v>
                </c:pt>
                <c:pt idx="2">
                  <c:v>2.6723387340501414</c:v>
                </c:pt>
                <c:pt idx="3">
                  <c:v>1.8636544225926142</c:v>
                </c:pt>
                <c:pt idx="4">
                  <c:v>0.30592544320460635</c:v>
                </c:pt>
                <c:pt idx="5">
                  <c:v>2.17838279553500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B$2:$B$9</c:f>
              <c:numCache>
                <c:formatCode>General</c:formatCode>
                <c:ptCount val="8"/>
                <c:pt idx="0">
                  <c:v>3.233715215106926</c:v>
                </c:pt>
                <c:pt idx="1">
                  <c:v>5.054232970869206</c:v>
                </c:pt>
                <c:pt idx="2">
                  <c:v>2.541888380255395</c:v>
                </c:pt>
                <c:pt idx="3">
                  <c:v>5.025910217783153</c:v>
                </c:pt>
                <c:pt idx="4">
                  <c:v>2.2291999999999996</c:v>
                </c:pt>
                <c:pt idx="5">
                  <c:v>4.7177</c:v>
                </c:pt>
                <c:pt idx="6">
                  <c:v>2.6841999999999997</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C$2:$C$9</c:f>
              <c:numCache>
                <c:formatCode>General</c:formatCode>
                <c:ptCount val="8"/>
                <c:pt idx="0">
                  <c:v>0.9783543391804891</c:v>
                </c:pt>
                <c:pt idx="1">
                  <c:v>2.7044101916499583</c:v>
                </c:pt>
                <c:pt idx="2">
                  <c:v>1.5464522231349414</c:v>
                </c:pt>
                <c:pt idx="3">
                  <c:v>4.5703</c:v>
                </c:pt>
                <c:pt idx="4">
                  <c:v>4.3998</c:v>
                </c:pt>
                <c:pt idx="5">
                  <c:v>2.7761</c:v>
                </c:pt>
                <c:pt idx="6">
                  <c:v>1.5421999999999998</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D$2:$D$9</c:f>
              <c:numCache>
                <c:formatCode>General</c:formatCode>
                <c:ptCount val="8"/>
                <c:pt idx="0">
                  <c:v>2.2777927239644518</c:v>
                </c:pt>
                <c:pt idx="1">
                  <c:v>3.2382940865668104</c:v>
                </c:pt>
                <c:pt idx="2">
                  <c:v>2.398801040997685</c:v>
                </c:pt>
                <c:pt idx="3">
                  <c:v>5.409317070708223</c:v>
                </c:pt>
                <c:pt idx="4">
                  <c:v>2.334137826183455</c:v>
                </c:pt>
                <c:pt idx="5">
                  <c:v>3.502975628196574</c:v>
                </c:pt>
                <c:pt idx="6">
                  <c:v>2.2649567847350456</c:v>
                </c:pt>
                <c:pt idx="7">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535853264212</c:v>
                </c:pt>
                <c:pt idx="1">
                  <c:v>-0.0034127103466726418</c:v>
                </c:pt>
                <c:pt idx="2">
                  <c:v>1.7058220196056355</c:v>
                </c:pt>
                <c:pt idx="3">
                  <c:v>1.132846593286125</c:v>
                </c:pt>
                <c:pt idx="4">
                  <c:v>0.862530590935272</c:v>
                </c:pt>
                <c:pt idx="5">
                  <c:v>0.0072931375268884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46414673579</c:v>
                </c:pt>
                <c:pt idx="1">
                  <c:v>1.3028651803297155</c:v>
                </c:pt>
                <c:pt idx="2">
                  <c:v>1.5964314680564011</c:v>
                </c:pt>
                <c:pt idx="3">
                  <c:v>1.1631534067138753</c:v>
                </c:pt>
                <c:pt idx="4">
                  <c:v>0.9351266017294732</c:v>
                </c:pt>
                <c:pt idx="5">
                  <c:v>0.69615189196502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49763853189348</c:v>
                </c:pt>
                <c:pt idx="1">
                  <c:v>0.877855437315233</c:v>
                </c:pt>
                <c:pt idx="2">
                  <c:v>2.6775867628565373</c:v>
                </c:pt>
                <c:pt idx="3">
                  <c:v>1.8539354866522482</c:v>
                </c:pt>
                <c:pt idx="4">
                  <c:v>2.171707915321968</c:v>
                </c:pt>
                <c:pt idx="5">
                  <c:v>0.298174359801346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B$2:$B$5</c:f>
              <c:numCache>
                <c:formatCode>General</c:formatCode>
                <c:ptCount val="4"/>
                <c:pt idx="0">
                  <c:v>3.212840593782746</c:v>
                </c:pt>
                <c:pt idx="1">
                  <c:v>3.645284745762712</c:v>
                </c:pt>
                <c:pt idx="2">
                  <c:v>1.7043</c:v>
                </c:pt>
                <c:pt idx="3">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C$2:$C$5</c:f>
              <c:numCache>
                <c:formatCode>General</c:formatCode>
                <c:ptCount val="4"/>
                <c:pt idx="0">
                  <c:v>2.8433297031086266</c:v>
                </c:pt>
                <c:pt idx="1">
                  <c:v>2.3905322033898306</c:v>
                </c:pt>
                <c:pt idx="2">
                  <c:v>4.994799999999999</c:v>
                </c:pt>
                <c:pt idx="3">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D$2:$D$5</c:f>
              <c:numCache>
                <c:formatCode>General</c:formatCode>
                <c:ptCount val="4"/>
                <c:pt idx="0">
                  <c:v>3.9021842228431716</c:v>
                </c:pt>
                <c:pt idx="1">
                  <c:v>3.3728459510357807</c:v>
                </c:pt>
                <c:pt idx="2">
                  <c:v>2.7587833693304535</c:v>
                </c:pt>
                <c:pt idx="3">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B$2:$B$2</c:f>
              <c:numCache>
                <c:formatCode>General</c:formatCode>
                <c:ptCount val="1"/>
                <c:pt idx="0">
                  <c:v>1.8114921319936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C$2:$C$2</c:f>
              <c:numCache>
                <c:formatCode>General</c:formatCode>
                <c:ptCount val="1"/>
                <c:pt idx="0">
                  <c:v>2.50680786800636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D$2:$D$2</c:f>
              <c:numCache>
                <c:formatCode>General</c:formatCode>
                <c:ptCount val="1"/>
                <c:pt idx="0">
                  <c:v>4.10848883215285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B$2:$B$6</c:f>
              <c:numCache>
                <c:formatCode>General</c:formatCode>
                <c:ptCount val="5"/>
                <c:pt idx="0">
                  <c:v>3.212480951011117</c:v>
                </c:pt>
                <c:pt idx="1">
                  <c:v>1.7043</c:v>
                </c:pt>
                <c:pt idx="2">
                  <c:v>3.6424507269253144</c:v>
                </c:pt>
                <c:pt idx="3">
                  <c:v>3.5132081313391774</c:v>
                </c:pt>
                <c:pt idx="4">
                  <c:v>3.65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C$2:$C$6</c:f>
              <c:numCache>
                <c:formatCode>General</c:formatCode>
                <c:ptCount val="5"/>
                <c:pt idx="0">
                  <c:v>2.8435095244944413</c:v>
                </c:pt>
                <c:pt idx="1">
                  <c:v>4.9948</c:v>
                </c:pt>
                <c:pt idx="2">
                  <c:v>2.390709329567168</c:v>
                </c:pt>
                <c:pt idx="3">
                  <c:v>5.942967801272133</c:v>
                </c:pt>
                <c:pt idx="4">
                  <c:v>2.35970000000000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D$2:$D$6</c:f>
              <c:numCache>
                <c:formatCode>General</c:formatCode>
                <c:ptCount val="5"/>
                <c:pt idx="0">
                  <c:v>3.9013673510708635</c:v>
                </c:pt>
                <c:pt idx="1">
                  <c:v>1.9202117629885382</c:v>
                </c:pt>
                <c:pt idx="2">
                  <c:v>3.5119923901304313</c:v>
                </c:pt>
                <c:pt idx="3">
                  <c:v>5.474272769468797</c:v>
                </c:pt>
                <c:pt idx="4">
                  <c:v>-2.38839302325581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9987786259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0012213740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305295729317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5D98F27-DABA-4C1E-B954-2F985CFE8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863479A-CDBD-4AEC-96B9-14A44FB03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1A66F67-CB30-4842-B509-B3DD8CDC8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288CF90-1AA1-4C80-8205-C65EFE01A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87FA006-AB23-45B8-A9D8-B857FA5AC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8A27D7F-8936-4003-A6E1-2134FF731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3E2DDC5-0CC1-43C1-885A-0F1828588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1428EB3-692A-45E5-97A4-6FC675102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6572</c:v>
                </c:pt>
                <c:pt idx="1">
                  <c:v>0.6293</c:v>
                </c:pt>
                <c:pt idx="2">
                  <c:v>0.644</c:v>
                </c:pt>
              </c:numCache>
            </c:numRef>
          </c:xVal>
          <c:yVal>
            <c:numRef>
              <c:f>Sheet1!$B$2:$B$4</c:f>
              <c:numCache>
                <c:formatCode>General</c:formatCode>
                <c:ptCount val="3"/>
                <c:pt idx="0">
                  <c:v>0.6256</c:v>
                </c:pt>
                <c:pt idx="1">
                  <c:v>0.6528</c:v>
                </c:pt>
                <c:pt idx="2">
                  <c:v>0.6584</c:v>
                </c:pt>
              </c:numCache>
            </c:numRef>
          </c:yVal>
          <c:bubbleSize>
            <c:numRef>
              <c:f>Sheet1!$C$2:$C$4</c:f>
              <c:numCache>
                <c:formatCode>General</c:formatCode>
                <c:ptCount val="3"/>
                <c:pt idx="0">
                  <c:v>10963215.676699998</c:v>
                </c:pt>
                <c:pt idx="1">
                  <c:v>907060.7619999998</c:v>
                </c:pt>
                <c:pt idx="2">
                  <c:v>786080.11560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78864"/>
          <c:min val="0.503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5865723047237"/>
        <c:crossBetween val="midCat"/>
      </c:valAx>
      <c:valAx>
        <c:axId val="1011451359"/>
        <c:scaling>
          <c:orientation val="minMax"/>
          <c:max val="1.1500799999999998"/>
          <c:min val="0.26048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54380606232715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B$2:$B$2</c:f>
              <c:numCache>
                <c:formatCode>General</c:formatCode>
                <c:ptCount val="1"/>
                <c:pt idx="0">
                  <c:v>3.21468369595152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C$2:$C$2</c:f>
              <c:numCache>
                <c:formatCode>General</c:formatCode>
                <c:ptCount val="1"/>
                <c:pt idx="0">
                  <c:v>2.84240815202423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D$2:$D$2</c:f>
              <c:numCache>
                <c:formatCode>General</c:formatCode>
                <c:ptCount val="1"/>
                <c:pt idx="0">
                  <c:v>3.90382248347562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B$2:$B$2</c:f>
              <c:numCache>
                <c:formatCode>General</c:formatCode>
                <c:ptCount val="1"/>
                <c:pt idx="0">
                  <c:v>1.81334308256526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C$2:$C$2</c:f>
              <c:numCache>
                <c:formatCode>General</c:formatCode>
                <c:ptCount val="1"/>
                <c:pt idx="0">
                  <c:v>2.5049569174347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D$2:$D$2</c:f>
              <c:numCache>
                <c:formatCode>General</c:formatCode>
                <c:ptCount val="1"/>
                <c:pt idx="0">
                  <c:v>4.1284480818414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B$2:$B$6</c:f>
              <c:numCache>
                <c:formatCode>General</c:formatCode>
                <c:ptCount val="5"/>
                <c:pt idx="0">
                  <c:v>3.2126581464138413</c:v>
                </c:pt>
                <c:pt idx="1">
                  <c:v>1.7043</c:v>
                </c:pt>
                <c:pt idx="2">
                  <c:v>3.642571242245906</c:v>
                </c:pt>
                <c:pt idx="3">
                  <c:v>3.513407984599932</c:v>
                </c:pt>
                <c:pt idx="4">
                  <c:v>3.65660000000000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C$2:$C$6</c:f>
              <c:numCache>
                <c:formatCode>General</c:formatCode>
                <c:ptCount val="5"/>
                <c:pt idx="0">
                  <c:v>2.8434209267930792</c:v>
                </c:pt>
                <c:pt idx="1">
                  <c:v>4.9948</c:v>
                </c:pt>
                <c:pt idx="2">
                  <c:v>2.390701797359631</c:v>
                </c:pt>
                <c:pt idx="3">
                  <c:v>5.943010227653164</c:v>
                </c:pt>
                <c:pt idx="4">
                  <c:v>2.35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D$2:$D$6</c:f>
              <c:numCache>
                <c:formatCode>General</c:formatCode>
                <c:ptCount val="5"/>
                <c:pt idx="0">
                  <c:v>3.9015932615950515</c:v>
                </c:pt>
                <c:pt idx="1">
                  <c:v>1.9227027413210482</c:v>
                </c:pt>
                <c:pt idx="2">
                  <c:v>3.505060028630509</c:v>
                </c:pt>
                <c:pt idx="3">
                  <c:v>5.477194877803816</c:v>
                </c:pt>
                <c:pt idx="4">
                  <c:v>-2.44178076923076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2753745298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7246254701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250741558413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B$2:$B$7</c:f>
              <c:numCache>
                <c:formatCode>General</c:formatCode>
                <c:ptCount val="6"/>
                <c:pt idx="0">
                  <c:v>6.839531646239956</c:v>
                </c:pt>
                <c:pt idx="1">
                  <c:v>14.192114738292009</c:v>
                </c:pt>
                <c:pt idx="2">
                  <c:v>4.363833966000991</c:v>
                </c:pt>
                <c:pt idx="3">
                  <c:v>6.320834774436092</c:v>
                </c:pt>
                <c:pt idx="4">
                  <c:v>8.1992</c:v>
                </c:pt>
                <c:pt idx="5">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C$2:$C$7</c:f>
              <c:numCache>
                <c:formatCode>General</c:formatCode>
                <c:ptCount val="6"/>
                <c:pt idx="0">
                  <c:v>3.067845066222738</c:v>
                </c:pt>
                <c:pt idx="1">
                  <c:v>6.233713223140496</c:v>
                </c:pt>
                <c:pt idx="2">
                  <c:v>1.6382184188810034</c:v>
                </c:pt>
                <c:pt idx="3">
                  <c:v>2.536511904761905</c:v>
                </c:pt>
                <c:pt idx="4">
                  <c:v>2.1175</c:v>
                </c:pt>
                <c:pt idx="5">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D$2:$D$7</c:f>
              <c:numCache>
                <c:formatCode>General</c:formatCode>
                <c:ptCount val="6"/>
                <c:pt idx="0">
                  <c:v>4.683508421164115</c:v>
                </c:pt>
                <c:pt idx="1">
                  <c:v>5.771711167797839</c:v>
                </c:pt>
                <c:pt idx="2">
                  <c:v>2.3440792374979385</c:v>
                </c:pt>
                <c:pt idx="3">
                  <c:v>4.677202474937342</c:v>
                </c:pt>
                <c:pt idx="4">
                  <c:v>-4.146964765525983</c:v>
                </c:pt>
                <c:pt idx="5">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B$2:$B$5</c:f>
              <c:numCache>
                <c:formatCode>General</c:formatCode>
                <c:ptCount val="4"/>
                <c:pt idx="0">
                  <c:v>3.731684971057627</c:v>
                </c:pt>
                <c:pt idx="1">
                  <c:v>6.477163538161375</c:v>
                </c:pt>
                <c:pt idx="2">
                  <c:v>8.009000000000002</c:v>
                </c:pt>
                <c:pt idx="3">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C$2:$C$5</c:f>
              <c:numCache>
                <c:formatCode>General</c:formatCode>
                <c:ptCount val="4"/>
                <c:pt idx="0">
                  <c:v>1.368215028942373</c:v>
                </c:pt>
                <c:pt idx="1">
                  <c:v>2.6577364618386254</c:v>
                </c:pt>
                <c:pt idx="2">
                  <c:v>3.7053000000000003</c:v>
                </c:pt>
                <c:pt idx="3">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D$2:$D$5</c:f>
              <c:numCache>
                <c:formatCode>General</c:formatCode>
                <c:ptCount val="4"/>
                <c:pt idx="0">
                  <c:v>3.8479765070735015</c:v>
                </c:pt>
                <c:pt idx="1">
                  <c:v>6.164408628882589</c:v>
                </c:pt>
                <c:pt idx="2">
                  <c:v>7.765849191877331</c:v>
                </c:pt>
                <c:pt idx="3">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B$2:$B$4</c:f>
              <c:numCache>
                <c:formatCode>General</c:formatCode>
                <c:ptCount val="3"/>
                <c:pt idx="0">
                  <c:v>6.851935325602143</c:v>
                </c:pt>
                <c:pt idx="1">
                  <c:v>14.210997661380745</c:v>
                </c:pt>
                <c:pt idx="2">
                  <c:v>4.36266078431372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C$2:$C$4</c:f>
              <c:numCache>
                <c:formatCode>General</c:formatCode>
                <c:ptCount val="3"/>
                <c:pt idx="0">
                  <c:v>3.0701073392263396</c:v>
                </c:pt>
                <c:pt idx="1">
                  <c:v>6.237651513695339</c:v>
                </c:pt>
                <c:pt idx="2">
                  <c:v>1.63938431372549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D$2:$D$4</c:f>
              <c:numCache>
                <c:formatCode>General</c:formatCode>
                <c:ptCount val="3"/>
                <c:pt idx="0">
                  <c:v>4.685078760846647</c:v>
                </c:pt>
                <c:pt idx="1">
                  <c:v>5.746769694057345</c:v>
                </c:pt>
                <c:pt idx="2">
                  <c:v>1.5255292335115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B$2:$B$4</c:f>
              <c:numCache>
                <c:formatCode>General</c:formatCode>
                <c:ptCount val="3"/>
                <c:pt idx="0">
                  <c:v>3.731427616800377</c:v>
                </c:pt>
                <c:pt idx="1">
                  <c:v>6.47716304556610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C$2:$C$4</c:f>
              <c:numCache>
                <c:formatCode>General</c:formatCode>
                <c:ptCount val="3"/>
                <c:pt idx="0">
                  <c:v>1.3684723831996224</c:v>
                </c:pt>
                <c:pt idx="1">
                  <c:v>2.6577369544338914</c:v>
                </c:pt>
                <c:pt idx="2">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D$2:$D$4</c:f>
              <c:numCache>
                <c:formatCode>General</c:formatCode>
                <c:ptCount val="3"/>
                <c:pt idx="0">
                  <c:v>3.8343604341670616</c:v>
                </c:pt>
                <c:pt idx="1">
                  <c:v>5.989739846334434</c:v>
                </c:pt>
                <c:pt idx="2">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B$2:$B$4</c:f>
              <c:numCache>
                <c:formatCode>General</c:formatCode>
                <c:ptCount val="3"/>
                <c:pt idx="0">
                  <c:v>6.834024652851955</c:v>
                </c:pt>
                <c:pt idx="1">
                  <c:v>8.1992</c:v>
                </c:pt>
                <c:pt idx="2">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C$2:$C$4</c:f>
              <c:numCache>
                <c:formatCode>General</c:formatCode>
                <c:ptCount val="3"/>
                <c:pt idx="0">
                  <c:v>3.066840660827458</c:v>
                </c:pt>
                <c:pt idx="1">
                  <c:v>2.1174999999999997</c:v>
                </c:pt>
                <c:pt idx="2">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D$2:$D$4</c:f>
              <c:numCache>
                <c:formatCode>General</c:formatCode>
                <c:ptCount val="3"/>
                <c:pt idx="0">
                  <c:v>4.6694399772128445</c:v>
                </c:pt>
                <c:pt idx="1">
                  <c:v>-4.9168</c:v>
                </c:pt>
                <c:pt idx="2">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B$2:$B$4</c:f>
              <c:numCache>
                <c:formatCode>General</c:formatCode>
                <c:ptCount val="3"/>
                <c:pt idx="0">
                  <c:v>3.7319013056942776</c:v>
                </c:pt>
                <c:pt idx="1">
                  <c:v>6.47715481105112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C$2:$C$4</c:f>
              <c:numCache>
                <c:formatCode>General</c:formatCode>
                <c:ptCount val="3"/>
                <c:pt idx="0">
                  <c:v>1.3679986943057223</c:v>
                </c:pt>
                <c:pt idx="1">
                  <c:v>2.6577451889488724</c:v>
                </c:pt>
                <c:pt idx="2">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D$2:$D$4</c:f>
              <c:numCache>
                <c:formatCode>General</c:formatCode>
                <c:ptCount val="3"/>
                <c:pt idx="0">
                  <c:v>3.8513384342828445</c:v>
                </c:pt>
                <c:pt idx="1">
                  <c:v>5.099460114322007</c:v>
                </c:pt>
                <c:pt idx="2">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98BC1AF-8A1C-4993-B30B-345E4D130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E8F0D1A-AFF8-424B-B4F5-9EE51873D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E806BC7-1E77-4501-A792-2D58F68CC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DC3B7F0-78E8-4EA5-BE9E-936D9F7B6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1CAA6EF-B8C9-4846-BAA8-E60585078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168273C-96E1-4634-825E-00C37928E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47B6438-51E3-4FCA-AF4C-D584B41F3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DCD0609-CC75-4C62-A108-E1994FF5E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2993</c:v>
                </c:pt>
                <c:pt idx="1">
                  <c:v>0.2814</c:v>
                </c:pt>
                <c:pt idx="2">
                  <c:v>0.2675</c:v>
                </c:pt>
              </c:numCache>
            </c:numRef>
          </c:xVal>
          <c:yVal>
            <c:numRef>
              <c:f>Sheet1!$B$2:$B$4</c:f>
              <c:numCache>
                <c:formatCode>General</c:formatCode>
                <c:ptCount val="3"/>
                <c:pt idx="0">
                  <c:v>0.3686</c:v>
                </c:pt>
                <c:pt idx="1">
                  <c:v>0.3546</c:v>
                </c:pt>
                <c:pt idx="2">
                  <c:v>0.3388</c:v>
                </c:pt>
              </c:numCache>
            </c:numRef>
          </c:yVal>
          <c:bubbleSize>
            <c:numRef>
              <c:f>Sheet1!$C$2:$C$4</c:f>
              <c:numCache>
                <c:formatCode>General</c:formatCode>
                <c:ptCount val="3"/>
                <c:pt idx="0">
                  <c:v>11591402.168600002</c:v>
                </c:pt>
                <c:pt idx="1">
                  <c:v>952941.4383000003</c:v>
                </c:pt>
                <c:pt idx="2">
                  <c:v>912079.551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35916"/>
          <c:min val="0.2140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871310030966"/>
        <c:crossBetween val="midCat"/>
      </c:valAx>
      <c:valAx>
        <c:axId val="1011451359"/>
        <c:scaling>
          <c:orientation val="minMax"/>
          <c:max val="0.8023199999999999"/>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87696692918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B$2:$B$7</c:f>
              <c:numCache>
                <c:formatCode>General</c:formatCode>
                <c:ptCount val="6"/>
                <c:pt idx="0">
                  <c:v>6.8390522795495094</c:v>
                </c:pt>
                <c:pt idx="1">
                  <c:v>14.19104302177007</c:v>
                </c:pt>
                <c:pt idx="2">
                  <c:v>4.3638916493596405</c:v>
                </c:pt>
                <c:pt idx="3">
                  <c:v>6.342539987038238</c:v>
                </c:pt>
                <c:pt idx="4">
                  <c:v>8.1992</c:v>
                </c:pt>
                <c:pt idx="5">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C$2:$C$7</c:f>
              <c:numCache>
                <c:formatCode>General</c:formatCode>
                <c:ptCount val="6"/>
                <c:pt idx="0">
                  <c:v>3.067757635848979</c:v>
                </c:pt>
                <c:pt idx="1">
                  <c:v>6.233489702076728</c:v>
                </c:pt>
                <c:pt idx="2">
                  <c:v>1.6381610938040845</c:v>
                </c:pt>
                <c:pt idx="3">
                  <c:v>2.537953920933247</c:v>
                </c:pt>
                <c:pt idx="4">
                  <c:v>2.1174999999999997</c:v>
                </c:pt>
                <c:pt idx="5">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D$2:$D$7</c:f>
              <c:numCache>
                <c:formatCode>General</c:formatCode>
                <c:ptCount val="6"/>
                <c:pt idx="0">
                  <c:v>4.684638127418941</c:v>
                </c:pt>
                <c:pt idx="1">
                  <c:v>5.777374179174487</c:v>
                </c:pt>
                <c:pt idx="2">
                  <c:v>2.383673624091382</c:v>
                </c:pt>
                <c:pt idx="3">
                  <c:v>4.707410499027867</c:v>
                </c:pt>
                <c:pt idx="4">
                  <c:v>-4.032519063545149</c:v>
                </c:pt>
                <c:pt idx="5">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B$2:$B$4</c:f>
              <c:numCache>
                <c:formatCode>General</c:formatCode>
                <c:ptCount val="3"/>
                <c:pt idx="0">
                  <c:v>3.731685929427754</c:v>
                </c:pt>
                <c:pt idx="1">
                  <c:v>6.477164216836477</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C$2:$C$4</c:f>
              <c:numCache>
                <c:formatCode>General</c:formatCode>
                <c:ptCount val="3"/>
                <c:pt idx="0">
                  <c:v>1.3682140705722463</c:v>
                </c:pt>
                <c:pt idx="1">
                  <c:v>2.6577357831635235</c:v>
                </c:pt>
                <c:pt idx="2">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D$2:$D$4</c:f>
              <c:numCache>
                <c:formatCode>General</c:formatCode>
                <c:ptCount val="3"/>
                <c:pt idx="0">
                  <c:v>3.848679181367342</c:v>
                </c:pt>
                <c:pt idx="1">
                  <c:v>6.255594305470023</c:v>
                </c:pt>
                <c:pt idx="2">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B$2:$B$13</c:f>
              <c:numCache>
                <c:formatCode>General</c:formatCode>
                <c:ptCount val="12"/>
                <c:pt idx="0">
                  <c:v>3.2338951948404397</c:v>
                </c:pt>
                <c:pt idx="1">
                  <c:v>6.851935325602143</c:v>
                </c:pt>
                <c:pt idx="2">
                  <c:v>5.055853692924589</c:v>
                </c:pt>
                <c:pt idx="3">
                  <c:v>2.5421692679824663</c:v>
                </c:pt>
                <c:pt idx="4">
                  <c:v>3.212840593782746</c:v>
                </c:pt>
                <c:pt idx="5">
                  <c:v>5.025506923942544</c:v>
                </c:pt>
                <c:pt idx="6">
                  <c:v>14.210997661380745</c:v>
                </c:pt>
                <c:pt idx="7">
                  <c:v>4.7177</c:v>
                </c:pt>
                <c:pt idx="8">
                  <c:v>4.8102</c:v>
                </c:pt>
                <c:pt idx="9">
                  <c:v>2.6842000000000006</c:v>
                </c:pt>
                <c:pt idx="10">
                  <c:v>4.362660784313727</c:v>
                </c:pt>
                <c:pt idx="11">
                  <c:v>3.6452847457627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C$2:$C$13</c:f>
              <c:numCache>
                <c:formatCode>General</c:formatCode>
                <c:ptCount val="12"/>
                <c:pt idx="0">
                  <c:v>0.97840348493798</c:v>
                </c:pt>
                <c:pt idx="1">
                  <c:v>3.0701073392263396</c:v>
                </c:pt>
                <c:pt idx="2">
                  <c:v>2.7044202431768203</c:v>
                </c:pt>
                <c:pt idx="3">
                  <c:v>1.5464539916872968</c:v>
                </c:pt>
                <c:pt idx="4">
                  <c:v>2.8433297031086266</c:v>
                </c:pt>
                <c:pt idx="5">
                  <c:v>4.5703000000000005</c:v>
                </c:pt>
                <c:pt idx="6">
                  <c:v>6.237651513695339</c:v>
                </c:pt>
                <c:pt idx="7">
                  <c:v>2.7761</c:v>
                </c:pt>
                <c:pt idx="8">
                  <c:v>5.0165</c:v>
                </c:pt>
                <c:pt idx="9">
                  <c:v>1.5422000000000002</c:v>
                </c:pt>
                <c:pt idx="10">
                  <c:v>1.6393843137254902</c:v>
                </c:pt>
                <c:pt idx="11">
                  <c:v>2.39053220338983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D$2:$D$13</c:f>
              <c:numCache>
                <c:formatCode>General</c:formatCode>
                <c:ptCount val="12"/>
                <c:pt idx="0">
                  <c:v>2.3483884101467103</c:v>
                </c:pt>
                <c:pt idx="1">
                  <c:v>4.685078760846647</c:v>
                </c:pt>
                <c:pt idx="2">
                  <c:v>3.3410780494114602</c:v>
                </c:pt>
                <c:pt idx="3">
                  <c:v>2.4553521610756546</c:v>
                </c:pt>
                <c:pt idx="4">
                  <c:v>3.9021842228431716</c:v>
                </c:pt>
                <c:pt idx="5">
                  <c:v>5.5877503673793605</c:v>
                </c:pt>
                <c:pt idx="6">
                  <c:v>5.746769694057345</c:v>
                </c:pt>
                <c:pt idx="7">
                  <c:v>3.6403016238868506</c:v>
                </c:pt>
                <c:pt idx="8">
                  <c:v>5.383490984284535</c:v>
                </c:pt>
                <c:pt idx="9">
                  <c:v>2.3442510388437228</c:v>
                </c:pt>
                <c:pt idx="10">
                  <c:v>1.5255292335115866</c:v>
                </c:pt>
                <c:pt idx="11">
                  <c:v>3.37284595103578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B$2:$B$2</c:f>
              <c:numCache>
                <c:formatCode>General</c:formatCode>
                <c:ptCount val="1"/>
                <c:pt idx="0">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C$2:$C$2</c:f>
              <c:numCache>
                <c:formatCode>General</c:formatCode>
                <c:ptCount val="1"/>
                <c:pt idx="0">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D$2:$D$2</c:f>
              <c:numCache>
                <c:formatCode>General</c:formatCode>
                <c:ptCount val="1"/>
                <c:pt idx="0">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B$2:$B$11</c:f>
              <c:numCache>
                <c:formatCode>General</c:formatCode>
                <c:ptCount val="10"/>
                <c:pt idx="0">
                  <c:v>1.3914279917437642</c:v>
                </c:pt>
                <c:pt idx="1">
                  <c:v>-0.004182630964775597</c:v>
                </c:pt>
                <c:pt idx="2">
                  <c:v>3.731427616800377</c:v>
                </c:pt>
                <c:pt idx="3">
                  <c:v>1.7060376426209658</c:v>
                </c:pt>
                <c:pt idx="4">
                  <c:v>1.1327056411257408</c:v>
                </c:pt>
                <c:pt idx="5">
                  <c:v>0.8628219693309717</c:v>
                </c:pt>
                <c:pt idx="6">
                  <c:v>6.477163045566108</c:v>
                </c:pt>
                <c:pt idx="7">
                  <c:v>0.007283720122692286</c:v>
                </c:pt>
                <c:pt idx="8">
                  <c:v>1.811492131993631</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C$2:$C$11</c:f>
              <c:numCache>
                <c:formatCode>General</c:formatCode>
                <c:ptCount val="10"/>
                <c:pt idx="0">
                  <c:v>1.4418720082562353</c:v>
                </c:pt>
                <c:pt idx="1">
                  <c:v>1.3036357652451591</c:v>
                </c:pt>
                <c:pt idx="2">
                  <c:v>1.3684723831996224</c:v>
                </c:pt>
                <c:pt idx="3">
                  <c:v>1.5962159688911657</c:v>
                </c:pt>
                <c:pt idx="4">
                  <c:v>1.1632943588742595</c:v>
                </c:pt>
                <c:pt idx="5">
                  <c:v>0.9348355467282192</c:v>
                </c:pt>
                <c:pt idx="6">
                  <c:v>2.6577369544338914</c:v>
                </c:pt>
                <c:pt idx="7">
                  <c:v>0.6961612940563691</c:v>
                </c:pt>
                <c:pt idx="8">
                  <c:v>2.506807868006369</c:v>
                </c:pt>
                <c:pt idx="9">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D$2:$D$11</c:f>
              <c:numCache>
                <c:formatCode>General</c:formatCode>
                <c:ptCount val="10"/>
                <c:pt idx="0">
                  <c:v>2.7080953403413917</c:v>
                </c:pt>
                <c:pt idx="1">
                  <c:v>0.8782383366757269</c:v>
                </c:pt>
                <c:pt idx="2">
                  <c:v>3.8343604341670616</c:v>
                </c:pt>
                <c:pt idx="3">
                  <c:v>2.679071955478973</c:v>
                </c:pt>
                <c:pt idx="4">
                  <c:v>1.9032435337331868</c:v>
                </c:pt>
                <c:pt idx="5">
                  <c:v>2.2055028915490187</c:v>
                </c:pt>
                <c:pt idx="6">
                  <c:v>5.989739846334434</c:v>
                </c:pt>
                <c:pt idx="7">
                  <c:v>0.31417707539292106</c:v>
                </c:pt>
                <c:pt idx="8">
                  <c:v>4.108488832152858</c:v>
                </c:pt>
                <c:pt idx="9">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B$2:$B$13</c:f>
              <c:numCache>
                <c:formatCode>General</c:formatCode>
                <c:ptCount val="12"/>
                <c:pt idx="0">
                  <c:v>6.8390522795495094</c:v>
                </c:pt>
                <c:pt idx="1">
                  <c:v>3.233715215106926</c:v>
                </c:pt>
                <c:pt idx="2">
                  <c:v>5.054232970869206</c:v>
                </c:pt>
                <c:pt idx="3">
                  <c:v>14.19104302177007</c:v>
                </c:pt>
                <c:pt idx="4">
                  <c:v>2.541888380255395</c:v>
                </c:pt>
                <c:pt idx="5">
                  <c:v>3.212480951011117</c:v>
                </c:pt>
                <c:pt idx="6">
                  <c:v>5.025910217783153</c:v>
                </c:pt>
                <c:pt idx="7">
                  <c:v>1.7043</c:v>
                </c:pt>
                <c:pt idx="8">
                  <c:v>2.2291999999999996</c:v>
                </c:pt>
                <c:pt idx="9">
                  <c:v>4.7177</c:v>
                </c:pt>
                <c:pt idx="10">
                  <c:v>2.6841999999999997</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C$2:$C$13</c:f>
              <c:numCache>
                <c:formatCode>General</c:formatCode>
                <c:ptCount val="12"/>
                <c:pt idx="0">
                  <c:v>3.067757635848979</c:v>
                </c:pt>
                <c:pt idx="1">
                  <c:v>0.9783543391804891</c:v>
                </c:pt>
                <c:pt idx="2">
                  <c:v>2.7044101916499583</c:v>
                </c:pt>
                <c:pt idx="3">
                  <c:v>6.233489702076728</c:v>
                </c:pt>
                <c:pt idx="4">
                  <c:v>1.5464522231349414</c:v>
                </c:pt>
                <c:pt idx="5">
                  <c:v>2.8435095244944413</c:v>
                </c:pt>
                <c:pt idx="6">
                  <c:v>4.5703</c:v>
                </c:pt>
                <c:pt idx="7">
                  <c:v>4.9948</c:v>
                </c:pt>
                <c:pt idx="8">
                  <c:v>4.3998</c:v>
                </c:pt>
                <c:pt idx="9">
                  <c:v>2.7761</c:v>
                </c:pt>
                <c:pt idx="10">
                  <c:v>1.5421999999999998</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D$2:$D$13</c:f>
              <c:numCache>
                <c:formatCode>General</c:formatCode>
                <c:ptCount val="12"/>
                <c:pt idx="0">
                  <c:v>4.684638127418941</c:v>
                </c:pt>
                <c:pt idx="1">
                  <c:v>2.2777927239644518</c:v>
                </c:pt>
                <c:pt idx="2">
                  <c:v>3.2382940865668104</c:v>
                </c:pt>
                <c:pt idx="3">
                  <c:v>5.777374179174487</c:v>
                </c:pt>
                <c:pt idx="4">
                  <c:v>2.398801040997685</c:v>
                </c:pt>
                <c:pt idx="5">
                  <c:v>3.9013673510708635</c:v>
                </c:pt>
                <c:pt idx="6">
                  <c:v>5.409317070708223</c:v>
                </c:pt>
                <c:pt idx="7">
                  <c:v>1.9202117629885382</c:v>
                </c:pt>
                <c:pt idx="8">
                  <c:v>2.334137826183455</c:v>
                </c:pt>
                <c:pt idx="9">
                  <c:v>3.502975628196574</c:v>
                </c:pt>
                <c:pt idx="10">
                  <c:v>2.2649567847350456</c:v>
                </c:pt>
                <c:pt idx="11">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B$2:$B$3</c:f>
              <c:numCache>
                <c:formatCode>General</c:formatCode>
                <c:ptCount val="2"/>
                <c:pt idx="0">
                  <c:v>3.5132081313391774</c:v>
                </c:pt>
                <c:pt idx="1">
                  <c:v>6.3425399870382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C$2:$C$3</c:f>
              <c:numCache>
                <c:formatCode>General</c:formatCode>
                <c:ptCount val="2"/>
                <c:pt idx="0">
                  <c:v>5.942967801272133</c:v>
                </c:pt>
                <c:pt idx="1">
                  <c:v>2.5379539209332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D$2:$D$3</c:f>
              <c:numCache>
                <c:formatCode>General</c:formatCode>
                <c:ptCount val="2"/>
                <c:pt idx="0">
                  <c:v>5.474272769468797</c:v>
                </c:pt>
                <c:pt idx="1">
                  <c:v>4.7074104990278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B$2:$B$11</c:f>
              <c:numCache>
                <c:formatCode>General</c:formatCode>
                <c:ptCount val="10"/>
                <c:pt idx="0">
                  <c:v>1.3913535853264212</c:v>
                </c:pt>
                <c:pt idx="1">
                  <c:v>3.731685929427754</c:v>
                </c:pt>
                <c:pt idx="2">
                  <c:v>-0.0034127103466726418</c:v>
                </c:pt>
                <c:pt idx="3">
                  <c:v>1.7058220196056355</c:v>
                </c:pt>
                <c:pt idx="4">
                  <c:v>1.132846593286125</c:v>
                </c:pt>
                <c:pt idx="5">
                  <c:v>0.862530590935272</c:v>
                </c:pt>
                <c:pt idx="6">
                  <c:v>6.477164216836477</c:v>
                </c:pt>
                <c:pt idx="7">
                  <c:v>1.8129998778625953</c:v>
                </c:pt>
                <c:pt idx="8">
                  <c:v>0.0072931375268884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C$2:$C$11</c:f>
              <c:numCache>
                <c:formatCode>General</c:formatCode>
                <c:ptCount val="10"/>
                <c:pt idx="0">
                  <c:v>1.441946414673579</c:v>
                </c:pt>
                <c:pt idx="1">
                  <c:v>1.3682140705722463</c:v>
                </c:pt>
                <c:pt idx="2">
                  <c:v>1.3028651803297155</c:v>
                </c:pt>
                <c:pt idx="3">
                  <c:v>1.5964314680564011</c:v>
                </c:pt>
                <c:pt idx="4">
                  <c:v>1.1631534067138753</c:v>
                </c:pt>
                <c:pt idx="5">
                  <c:v>0.9351266017294732</c:v>
                </c:pt>
                <c:pt idx="6">
                  <c:v>2.6577357831635235</c:v>
                </c:pt>
                <c:pt idx="7">
                  <c:v>2.5053001221374043</c:v>
                </c:pt>
                <c:pt idx="8">
                  <c:v>0.6961518919650252</c:v>
                </c:pt>
                <c:pt idx="9">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D$2:$D$11</c:f>
              <c:numCache>
                <c:formatCode>General</c:formatCode>
                <c:ptCount val="10"/>
                <c:pt idx="0">
                  <c:v>2.649763853189348</c:v>
                </c:pt>
                <c:pt idx="1">
                  <c:v>3.848679181367342</c:v>
                </c:pt>
                <c:pt idx="2">
                  <c:v>0.877855437315233</c:v>
                </c:pt>
                <c:pt idx="3">
                  <c:v>2.6775867628565373</c:v>
                </c:pt>
                <c:pt idx="4">
                  <c:v>1.8539354866522482</c:v>
                </c:pt>
                <c:pt idx="5">
                  <c:v>2.171707915321968</c:v>
                </c:pt>
                <c:pt idx="6">
                  <c:v>6.255594305470023</c:v>
                </c:pt>
                <c:pt idx="7">
                  <c:v>4.1230529572931705</c:v>
                </c:pt>
                <c:pt idx="8">
                  <c:v>0.29817435980134643</c:v>
                </c:pt>
                <c:pt idx="9">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B$2:$B$13</c:f>
              <c:numCache>
                <c:formatCode>General</c:formatCode>
                <c:ptCount val="12"/>
                <c:pt idx="0">
                  <c:v>6.839531646239956</c:v>
                </c:pt>
                <c:pt idx="1">
                  <c:v>3.233711386309951</c:v>
                </c:pt>
                <c:pt idx="2">
                  <c:v>5.054899165457547</c:v>
                </c:pt>
                <c:pt idx="3">
                  <c:v>14.192114738292009</c:v>
                </c:pt>
                <c:pt idx="4">
                  <c:v>2.542119626734359</c:v>
                </c:pt>
                <c:pt idx="5">
                  <c:v>3.2126581464138413</c:v>
                </c:pt>
                <c:pt idx="6">
                  <c:v>5.02659039075498</c:v>
                </c:pt>
                <c:pt idx="7">
                  <c:v>1.7043</c:v>
                </c:pt>
                <c:pt idx="8">
                  <c:v>2.2291999999999996</c:v>
                </c:pt>
                <c:pt idx="9">
                  <c:v>4.7177</c:v>
                </c:pt>
                <c:pt idx="10">
                  <c:v>2.6842</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C$2:$C$13</c:f>
              <c:numCache>
                <c:formatCode>General</c:formatCode>
                <c:ptCount val="12"/>
                <c:pt idx="0">
                  <c:v>3.067845066222738</c:v>
                </c:pt>
                <c:pt idx="1">
                  <c:v>0.9783532936787319</c:v>
                </c:pt>
                <c:pt idx="2">
                  <c:v>2.704414323310152</c:v>
                </c:pt>
                <c:pt idx="3">
                  <c:v>6.233713223140496</c:v>
                </c:pt>
                <c:pt idx="4">
                  <c:v>1.5464536791312902</c:v>
                </c:pt>
                <c:pt idx="5">
                  <c:v>2.8434209267930792</c:v>
                </c:pt>
                <c:pt idx="6">
                  <c:v>4.5703</c:v>
                </c:pt>
                <c:pt idx="7">
                  <c:v>4.9948</c:v>
                </c:pt>
                <c:pt idx="8">
                  <c:v>4.399799999999999</c:v>
                </c:pt>
                <c:pt idx="9">
                  <c:v>2.7761000000000005</c:v>
                </c:pt>
                <c:pt idx="10">
                  <c:v>1.5422000000000002</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D$2:$D$13</c:f>
              <c:numCache>
                <c:formatCode>General</c:formatCode>
                <c:ptCount val="12"/>
                <c:pt idx="0">
                  <c:v>4.683508421164115</c:v>
                </c:pt>
                <c:pt idx="1">
                  <c:v>2.285114535560834</c:v>
                </c:pt>
                <c:pt idx="2">
                  <c:v>3.247973158553058</c:v>
                </c:pt>
                <c:pt idx="3">
                  <c:v>5.771711167797839</c:v>
                </c:pt>
                <c:pt idx="4">
                  <c:v>2.403455607478132</c:v>
                </c:pt>
                <c:pt idx="5">
                  <c:v>3.9015932615950515</c:v>
                </c:pt>
                <c:pt idx="6">
                  <c:v>5.42089618038381</c:v>
                </c:pt>
                <c:pt idx="7">
                  <c:v>1.9227027413210482</c:v>
                </c:pt>
                <c:pt idx="8">
                  <c:v>2.335967770032089</c:v>
                </c:pt>
                <c:pt idx="9">
                  <c:v>3.516074412807976</c:v>
                </c:pt>
                <c:pt idx="10">
                  <c:v>2.2714615812527894</c:v>
                </c:pt>
                <c:pt idx="11">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B$2:$B$3</c:f>
              <c:numCache>
                <c:formatCode>General</c:formatCode>
                <c:ptCount val="2"/>
                <c:pt idx="0">
                  <c:v>3.513407984599932</c:v>
                </c:pt>
                <c:pt idx="1">
                  <c:v>6.3208347744360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C$2:$C$3</c:f>
              <c:numCache>
                <c:formatCode>General</c:formatCode>
                <c:ptCount val="2"/>
                <c:pt idx="0">
                  <c:v>5.943010227653164</c:v>
                </c:pt>
                <c:pt idx="1">
                  <c:v>2.5365119047619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D$2:$D$3</c:f>
              <c:numCache>
                <c:formatCode>General</c:formatCode>
                <c:ptCount val="2"/>
                <c:pt idx="0">
                  <c:v>5.477194877803816</c:v>
                </c:pt>
                <c:pt idx="1">
                  <c:v>4.677202474937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3667A82-A3FD-4845-B924-AB1C6D051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81D1B01-78AA-45DB-B23D-985758C5E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AB39E1E-DEC3-4555-B93C-D29EE2193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DEB07D3-26EC-4CA6-B858-2CE739197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3D23B37-0E1C-435F-AF0A-60D80A8F5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78619E5-08E8-4FAD-9373-CCC32F3EC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DC7ED4E-2385-4C7F-9242-747C648B0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B2CF642-D80F-4520-B70B-8325D4126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238</c:v>
                </c:pt>
                <c:pt idx="1">
                  <c:v>0.8339</c:v>
                </c:pt>
                <c:pt idx="2">
                  <c:v>0.8411</c:v>
                </c:pt>
              </c:numCache>
            </c:numRef>
          </c:xVal>
          <c:yVal>
            <c:numRef>
              <c:f>Sheet1!$B$2:$B$4</c:f>
              <c:numCache>
                <c:formatCode>General</c:formatCode>
                <c:ptCount val="3"/>
                <c:pt idx="0">
                  <c:v>0.6143</c:v>
                </c:pt>
                <c:pt idx="1">
                  <c:v>0.6473</c:v>
                </c:pt>
                <c:pt idx="2">
                  <c:v>0.6476</c:v>
                </c:pt>
              </c:numCache>
            </c:numRef>
          </c:yVal>
          <c:bubbleSize>
            <c:numRef>
              <c:f>Sheet1!$C$2:$C$4</c:f>
              <c:numCache>
                <c:formatCode>General</c:formatCode>
                <c:ptCount val="3"/>
                <c:pt idx="0">
                  <c:v>20094865.639200006</c:v>
                </c:pt>
                <c:pt idx="1">
                  <c:v>1465830.9724999995</c:v>
                </c:pt>
                <c:pt idx="2">
                  <c:v>1242905.1412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0856"/>
          <c:min val="0.6671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362713079296"/>
        <c:crossBetween val="midCat"/>
      </c:valAx>
      <c:valAx>
        <c:axId val="1011451359"/>
        <c:scaling>
          <c:orientation val="minMax"/>
          <c:max val="1.13712"/>
          <c:min val="0.2514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13513622341154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B$2:$B$12</c:f>
              <c:numCache>
                <c:formatCode>General</c:formatCode>
                <c:ptCount val="11"/>
                <c:pt idx="0">
                  <c:v>1.391337819208969</c:v>
                </c:pt>
                <c:pt idx="1">
                  <c:v>3.731684971057627</c:v>
                </c:pt>
                <c:pt idx="2">
                  <c:v>-0.003430243957590782</c:v>
                </c:pt>
                <c:pt idx="3">
                  <c:v>1.7056911935876407</c:v>
                </c:pt>
                <c:pt idx="4">
                  <c:v>1.1328696165771632</c:v>
                </c:pt>
                <c:pt idx="5">
                  <c:v>0.8624432843284106</c:v>
                </c:pt>
                <c:pt idx="6">
                  <c:v>6.477163538161375</c:v>
                </c:pt>
                <c:pt idx="7">
                  <c:v>0.0073972645224219475</c:v>
                </c:pt>
                <c:pt idx="8">
                  <c:v>1.8129275374529839</c:v>
                </c:pt>
                <c:pt idx="9">
                  <c:v>8.009000000000002</c:v>
                </c:pt>
                <c:pt idx="10">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C$2:$C$12</c:f>
              <c:numCache>
                <c:formatCode>General</c:formatCode>
                <c:ptCount val="11"/>
                <c:pt idx="0">
                  <c:v>1.4419621807910314</c:v>
                </c:pt>
                <c:pt idx="1">
                  <c:v>1.368215028942373</c:v>
                </c:pt>
                <c:pt idx="2">
                  <c:v>1.3028827290688574</c:v>
                </c:pt>
                <c:pt idx="3">
                  <c:v>1.5965622189302155</c:v>
                </c:pt>
                <c:pt idx="4">
                  <c:v>1.1631303834228373</c:v>
                </c:pt>
                <c:pt idx="5">
                  <c:v>0.9352138114366597</c:v>
                </c:pt>
                <c:pt idx="6">
                  <c:v>2.6577364618386254</c:v>
                </c:pt>
                <c:pt idx="7">
                  <c:v>0.6960479342816795</c:v>
                </c:pt>
                <c:pt idx="8">
                  <c:v>2.5053724625470166</c:v>
                </c:pt>
                <c:pt idx="9">
                  <c:v>3.7053000000000003</c:v>
                </c:pt>
                <c:pt idx="10">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D$2:$D$12</c:f>
              <c:numCache>
                <c:formatCode>General</c:formatCode>
                <c:ptCount val="11"/>
                <c:pt idx="0">
                  <c:v>2.6544815258828254</c:v>
                </c:pt>
                <c:pt idx="1">
                  <c:v>3.8479765070735015</c:v>
                </c:pt>
                <c:pt idx="2">
                  <c:v>0.8778978962155624</c:v>
                </c:pt>
                <c:pt idx="3">
                  <c:v>2.67736377440347</c:v>
                </c:pt>
                <c:pt idx="4">
                  <c:v>1.8581278447161123</c:v>
                </c:pt>
                <c:pt idx="5">
                  <c:v>2.174250147950246</c:v>
                </c:pt>
                <c:pt idx="6">
                  <c:v>6.164408628882589</c:v>
                </c:pt>
                <c:pt idx="7">
                  <c:v>0.3000036054405024</c:v>
                </c:pt>
                <c:pt idx="8">
                  <c:v>4.1225074155841375</c:v>
                </c:pt>
                <c:pt idx="9">
                  <c:v>7.765849191877331</c:v>
                </c:pt>
                <c:pt idx="10">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B$2:$B$12</c:f>
              <c:numCache>
                <c:formatCode>General</c:formatCode>
                <c:ptCount val="11"/>
                <c:pt idx="0">
                  <c:v>6.834024652851955</c:v>
                </c:pt>
                <c:pt idx="1">
                  <c:v>5.061522740760723</c:v>
                </c:pt>
                <c:pt idx="2">
                  <c:v>3.2334426633358953</c:v>
                </c:pt>
                <c:pt idx="3">
                  <c:v>2.5448640435753433</c:v>
                </c:pt>
                <c:pt idx="4">
                  <c:v>3.214683695951529</c:v>
                </c:pt>
                <c:pt idx="5">
                  <c:v>5.040524876695438</c:v>
                </c:pt>
                <c:pt idx="6">
                  <c:v>4.7177</c:v>
                </c:pt>
                <c:pt idx="7">
                  <c:v>2.6842</c:v>
                </c:pt>
                <c:pt idx="8">
                  <c:v>4.8102</c:v>
                </c:pt>
                <c:pt idx="9">
                  <c:v>8.1992</c:v>
                </c:pt>
                <c:pt idx="10">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C$2:$C$12</c:f>
              <c:numCache>
                <c:formatCode>General</c:formatCode>
                <c:ptCount val="11"/>
                <c:pt idx="0">
                  <c:v>3.066840660827458</c:v>
                </c:pt>
                <c:pt idx="1">
                  <c:v>2.7044554019422713</c:v>
                </c:pt>
                <c:pt idx="2">
                  <c:v>0.978279915449654</c:v>
                </c:pt>
                <c:pt idx="3">
                  <c:v>1.546470958792882</c:v>
                </c:pt>
                <c:pt idx="4">
                  <c:v>2.8424081520242357</c:v>
                </c:pt>
                <c:pt idx="5">
                  <c:v>4.5703</c:v>
                </c:pt>
                <c:pt idx="6">
                  <c:v>2.7761</c:v>
                </c:pt>
                <c:pt idx="7">
                  <c:v>1.5422</c:v>
                </c:pt>
                <c:pt idx="8">
                  <c:v>5.0165</c:v>
                </c:pt>
                <c:pt idx="9">
                  <c:v>2.1174999999999997</c:v>
                </c:pt>
                <c:pt idx="10">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D$2:$D$12</c:f>
              <c:numCache>
                <c:formatCode>General</c:formatCode>
                <c:ptCount val="11"/>
                <c:pt idx="0">
                  <c:v>4.6694399772128445</c:v>
                </c:pt>
                <c:pt idx="1">
                  <c:v>3.261581818181818</c:v>
                </c:pt>
                <c:pt idx="2">
                  <c:v>2.299730149884703</c:v>
                </c:pt>
                <c:pt idx="3">
                  <c:v>2.408151879919706</c:v>
                </c:pt>
                <c:pt idx="4">
                  <c:v>3.9038224834756257</c:v>
                </c:pt>
                <c:pt idx="5">
                  <c:v>5.370473931360461</c:v>
                </c:pt>
                <c:pt idx="6">
                  <c:v>3.5501560439560427</c:v>
                </c:pt>
                <c:pt idx="7">
                  <c:v>2.282073205741627</c:v>
                </c:pt>
                <c:pt idx="8">
                  <c:v>5.1944437710437725</c:v>
                </c:pt>
                <c:pt idx="9">
                  <c:v>-4.9168</c:v>
                </c:pt>
                <c:pt idx="10">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B$2:$B$11</c:f>
              <c:numCache>
                <c:formatCode>General</c:formatCode>
                <c:ptCount val="10"/>
                <c:pt idx="0">
                  <c:v>1.3910074025933514</c:v>
                </c:pt>
                <c:pt idx="1">
                  <c:v>3.7319013056942776</c:v>
                </c:pt>
                <c:pt idx="2">
                  <c:v>-0.0028238252861935344</c:v>
                </c:pt>
                <c:pt idx="3">
                  <c:v>1.7034869891422082</c:v>
                </c:pt>
                <c:pt idx="4">
                  <c:v>1.1333460349501125</c:v>
                </c:pt>
                <c:pt idx="5">
                  <c:v>0.008419116543434663</c:v>
                </c:pt>
                <c:pt idx="6">
                  <c:v>0.8609268492640209</c:v>
                </c:pt>
                <c:pt idx="7">
                  <c:v>1.8133430825652657</c:v>
                </c:pt>
                <c:pt idx="8">
                  <c:v>6.47715481105112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C$2:$C$11</c:f>
              <c:numCache>
                <c:formatCode>General</c:formatCode>
                <c:ptCount val="10"/>
                <c:pt idx="0">
                  <c:v>1.4422925974066485</c:v>
                </c:pt>
                <c:pt idx="1">
                  <c:v>1.3679986943057223</c:v>
                </c:pt>
                <c:pt idx="2">
                  <c:v>1.3022757871716868</c:v>
                </c:pt>
                <c:pt idx="3">
                  <c:v>1.5987651573191026</c:v>
                </c:pt>
                <c:pt idx="4">
                  <c:v>1.1626539650498875</c:v>
                </c:pt>
                <c:pt idx="5">
                  <c:v>0.6950277438086686</c:v>
                </c:pt>
                <c:pt idx="6">
                  <c:v>0.9367285634432643</c:v>
                </c:pt>
                <c:pt idx="7">
                  <c:v>2.5049569174347344</c:v>
                </c:pt>
                <c:pt idx="8">
                  <c:v>2.6577451889488724</c:v>
                </c:pt>
                <c:pt idx="9">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D$2:$D$11</c:f>
              <c:numCache>
                <c:formatCode>General</c:formatCode>
                <c:ptCount val="10"/>
                <c:pt idx="0">
                  <c:v>2.66158920546122</c:v>
                </c:pt>
                <c:pt idx="1">
                  <c:v>3.8513384342828445</c:v>
                </c:pt>
                <c:pt idx="2">
                  <c:v>0.8780065175509717</c:v>
                </c:pt>
                <c:pt idx="3">
                  <c:v>2.6723387340501414</c:v>
                </c:pt>
                <c:pt idx="4">
                  <c:v>1.8636544225926142</c:v>
                </c:pt>
                <c:pt idx="5">
                  <c:v>0.30592544320460635</c:v>
                </c:pt>
                <c:pt idx="6">
                  <c:v>2.1783827955350037</c:v>
                </c:pt>
                <c:pt idx="7">
                  <c:v>4.128448081841433</c:v>
                </c:pt>
                <c:pt idx="8">
                  <c:v>5.099460114322007</c:v>
                </c:pt>
                <c:pt idx="9">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B$2:$B$10</c:f>
              <c:numCache>
                <c:formatCode>General</c:formatCode>
                <c:ptCount val="9"/>
                <c:pt idx="0">
                  <c:v>6.8390522795495094</c:v>
                </c:pt>
                <c:pt idx="1">
                  <c:v>14.19104302177007</c:v>
                </c:pt>
                <c:pt idx="2">
                  <c:v>3.212480951011117</c:v>
                </c:pt>
                <c:pt idx="3">
                  <c:v>1.7043</c:v>
                </c:pt>
                <c:pt idx="4">
                  <c:v>3.6424507269253144</c:v>
                </c:pt>
                <c:pt idx="5">
                  <c:v>4.3638916493596405</c:v>
                </c:pt>
                <c:pt idx="6">
                  <c:v>8.1992</c:v>
                </c:pt>
                <c:pt idx="7">
                  <c:v>3.6566</c:v>
                </c:pt>
                <c:pt idx="8">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C$2:$C$10</c:f>
              <c:numCache>
                <c:formatCode>General</c:formatCode>
                <c:ptCount val="9"/>
                <c:pt idx="0">
                  <c:v>3.067757635848979</c:v>
                </c:pt>
                <c:pt idx="1">
                  <c:v>6.233489702076728</c:v>
                </c:pt>
                <c:pt idx="2">
                  <c:v>2.8435095244944413</c:v>
                </c:pt>
                <c:pt idx="3">
                  <c:v>4.9948</c:v>
                </c:pt>
                <c:pt idx="4">
                  <c:v>2.390709329567168</c:v>
                </c:pt>
                <c:pt idx="5">
                  <c:v>1.6381610938040845</c:v>
                </c:pt>
                <c:pt idx="6">
                  <c:v>2.1174999999999997</c:v>
                </c:pt>
                <c:pt idx="7">
                  <c:v>2.3597000000000006</c:v>
                </c:pt>
                <c:pt idx="8">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D$2:$D$10</c:f>
              <c:numCache>
                <c:formatCode>General</c:formatCode>
                <c:ptCount val="9"/>
                <c:pt idx="0">
                  <c:v>4.684638127418941</c:v>
                </c:pt>
                <c:pt idx="1">
                  <c:v>5.777374179174487</c:v>
                </c:pt>
                <c:pt idx="2">
                  <c:v>3.9013673510708635</c:v>
                </c:pt>
                <c:pt idx="3">
                  <c:v>1.9202117629885382</c:v>
                </c:pt>
                <c:pt idx="4">
                  <c:v>3.5119923901304313</c:v>
                </c:pt>
                <c:pt idx="5">
                  <c:v>2.383673624091382</c:v>
                </c:pt>
                <c:pt idx="6">
                  <c:v>-4.032519063545149</c:v>
                </c:pt>
                <c:pt idx="7">
                  <c:v>-2.3883930232558144</c:v>
                </c:pt>
                <c:pt idx="8">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E$2:$E$10</c:f>
              <c:numCache>
                <c:formatCode>General</c:formatCode>
                <c:ptCount val="9"/>
                <c:pt idx="0">
                  <c:v>0.0</c:v>
                </c:pt>
                <c:pt idx="1">
                  <c:v>0.0</c:v>
                </c:pt>
                <c:pt idx="2">
                  <c:v>0.0</c:v>
                </c:pt>
                <c:pt idx="3">
                  <c:v>0.0</c:v>
                </c:pt>
                <c:pt idx="4">
                  <c:v>0.0</c:v>
                </c:pt>
                <c:pt idx="5">
                  <c:v>0.0</c:v>
                </c:pt>
                <c:pt idx="6">
                  <c:v>0.0</c:v>
                </c:pt>
                <c:pt idx="7">
                  <c:v>0.0</c:v>
                </c:pt>
                <c:pt idx="8">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B$2:$B$3</c:f>
              <c:numCache>
                <c:formatCode>General</c:formatCode>
                <c:ptCount val="2"/>
                <c:pt idx="0">
                  <c:v>3.5132081313391774</c:v>
                </c:pt>
                <c:pt idx="1">
                  <c:v>6.3425399870382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C$2:$C$3</c:f>
              <c:numCache>
                <c:formatCode>General</c:formatCode>
                <c:ptCount val="2"/>
                <c:pt idx="0">
                  <c:v>5.942967801272133</c:v>
                </c:pt>
                <c:pt idx="1">
                  <c:v>2.5379539209332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D$2:$D$3</c:f>
              <c:numCache>
                <c:formatCode>General</c:formatCode>
                <c:ptCount val="2"/>
                <c:pt idx="0">
                  <c:v>5.474272769468797</c:v>
                </c:pt>
                <c:pt idx="1">
                  <c:v>4.7074104990278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B$2:$B$5</c:f>
              <c:numCache>
                <c:formatCode>General</c:formatCode>
                <c:ptCount val="4"/>
                <c:pt idx="0">
                  <c:v>3.731685929427754</c:v>
                </c:pt>
                <c:pt idx="1">
                  <c:v>6.477164216836477</c:v>
                </c:pt>
                <c:pt idx="2">
                  <c:v>1.8129998778625953</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C$2:$C$5</c:f>
              <c:numCache>
                <c:formatCode>General</c:formatCode>
                <c:ptCount val="4"/>
                <c:pt idx="0">
                  <c:v>1.3682140705722463</c:v>
                </c:pt>
                <c:pt idx="1">
                  <c:v>2.6577357831635235</c:v>
                </c:pt>
                <c:pt idx="2">
                  <c:v>2.5053001221374043</c:v>
                </c:pt>
                <c:pt idx="3">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D$2:$D$5</c:f>
              <c:numCache>
                <c:formatCode>General</c:formatCode>
                <c:ptCount val="4"/>
                <c:pt idx="0">
                  <c:v>3.848679181367342</c:v>
                </c:pt>
                <c:pt idx="1">
                  <c:v>6.255594305470023</c:v>
                </c:pt>
                <c:pt idx="2">
                  <c:v>4.1230529572931705</c:v>
                </c:pt>
                <c:pt idx="3">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B$2:$B$5</c:f>
              <c:numCache>
                <c:formatCode>General</c:formatCode>
                <c:ptCount val="4"/>
                <c:pt idx="0">
                  <c:v>6.834024652851955</c:v>
                </c:pt>
                <c:pt idx="1">
                  <c:v>3.214683695951529</c:v>
                </c:pt>
                <c:pt idx="2">
                  <c:v>8.1992</c:v>
                </c:pt>
                <c:pt idx="3">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C$2:$C$5</c:f>
              <c:numCache>
                <c:formatCode>General</c:formatCode>
                <c:ptCount val="4"/>
                <c:pt idx="0">
                  <c:v>3.066840660827458</c:v>
                </c:pt>
                <c:pt idx="1">
                  <c:v>2.8424081520242357</c:v>
                </c:pt>
                <c:pt idx="2">
                  <c:v>2.1174999999999997</c:v>
                </c:pt>
                <c:pt idx="3">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D$2:$D$5</c:f>
              <c:numCache>
                <c:formatCode>General</c:formatCode>
                <c:ptCount val="4"/>
                <c:pt idx="0">
                  <c:v>4.6694399772128445</c:v>
                </c:pt>
                <c:pt idx="1">
                  <c:v>3.9038224834756257</c:v>
                </c:pt>
                <c:pt idx="2">
                  <c:v>-4.9168</c:v>
                </c:pt>
                <c:pt idx="3">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B$2:$B$5</c:f>
              <c:numCache>
                <c:formatCode>General</c:formatCode>
                <c:ptCount val="4"/>
                <c:pt idx="0">
                  <c:v>3.7319013056942776</c:v>
                </c:pt>
                <c:pt idx="1">
                  <c:v>1.8133430825652657</c:v>
                </c:pt>
                <c:pt idx="2">
                  <c:v>6.477154811051128</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C$2:$C$5</c:f>
              <c:numCache>
                <c:formatCode>General</c:formatCode>
                <c:ptCount val="4"/>
                <c:pt idx="0">
                  <c:v>1.3679986943057223</c:v>
                </c:pt>
                <c:pt idx="1">
                  <c:v>2.5049569174347344</c:v>
                </c:pt>
                <c:pt idx="2">
                  <c:v>2.6577451889488724</c:v>
                </c:pt>
                <c:pt idx="3">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D$2:$D$5</c:f>
              <c:numCache>
                <c:formatCode>General</c:formatCode>
                <c:ptCount val="4"/>
                <c:pt idx="0">
                  <c:v>3.8513384342828445</c:v>
                </c:pt>
                <c:pt idx="1">
                  <c:v>4.128448081841433</c:v>
                </c:pt>
                <c:pt idx="2">
                  <c:v>5.099460114322007</c:v>
                </c:pt>
                <c:pt idx="3">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B$2:$B$7</c:f>
              <c:numCache>
                <c:formatCode>General</c:formatCode>
                <c:ptCount val="6"/>
                <c:pt idx="0">
                  <c:v>6.851935325602143</c:v>
                </c:pt>
                <c:pt idx="1">
                  <c:v>3.212840593782746</c:v>
                </c:pt>
                <c:pt idx="2">
                  <c:v>14.210997661380745</c:v>
                </c:pt>
                <c:pt idx="3">
                  <c:v>4.362660784313727</c:v>
                </c:pt>
                <c:pt idx="4">
                  <c:v>3.645284745762712</c:v>
                </c:pt>
                <c:pt idx="5">
                  <c:v>1.70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C$2:$C$7</c:f>
              <c:numCache>
                <c:formatCode>General</c:formatCode>
                <c:ptCount val="6"/>
                <c:pt idx="0">
                  <c:v>3.0701073392263396</c:v>
                </c:pt>
                <c:pt idx="1">
                  <c:v>2.8433297031086266</c:v>
                </c:pt>
                <c:pt idx="2">
                  <c:v>6.237651513695339</c:v>
                </c:pt>
                <c:pt idx="3">
                  <c:v>1.6393843137254902</c:v>
                </c:pt>
                <c:pt idx="4">
                  <c:v>2.3905322033898306</c:v>
                </c:pt>
                <c:pt idx="5">
                  <c:v>4.9947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D$2:$D$7</c:f>
              <c:numCache>
                <c:formatCode>General</c:formatCode>
                <c:ptCount val="6"/>
                <c:pt idx="0">
                  <c:v>4.685078760846647</c:v>
                </c:pt>
                <c:pt idx="1">
                  <c:v>3.9021842228431716</c:v>
                </c:pt>
                <c:pt idx="2">
                  <c:v>5.746769694057345</c:v>
                </c:pt>
                <c:pt idx="3">
                  <c:v>1.5255292335115866</c:v>
                </c:pt>
                <c:pt idx="4">
                  <c:v>3.3728459510357807</c:v>
                </c:pt>
                <c:pt idx="5">
                  <c:v>2.75878336933045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B$2:$B$2</c:f>
              <c:numCache>
                <c:formatCode>General</c:formatCode>
                <c:ptCount val="1"/>
                <c:pt idx="0">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C$2:$C$2</c:f>
              <c:numCache>
                <c:formatCode>General</c:formatCode>
                <c:ptCount val="1"/>
                <c:pt idx="0">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D$2:$D$2</c:f>
              <c:numCache>
                <c:formatCode>General</c:formatCode>
                <c:ptCount val="1"/>
                <c:pt idx="0">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8A2C794-5726-498F-AE21-C8A591A64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9548D0F-1314-4FF2-A614-A9201C58A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8534541-F081-4557-81DF-70F1D2217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1ED7E73-61B5-4F92-BF03-476D220DE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B5555C3-3DD7-4A23-9276-8EA4EDCBB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F05255E-1403-4CBE-9BF3-4E5C04B40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937F961-216C-4AF8-AF5C-E08AD8CCA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E431125-5AEE-4A38-8859-48744AA82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3878</c:v>
                </c:pt>
                <c:pt idx="1">
                  <c:v>0.3581</c:v>
                </c:pt>
                <c:pt idx="2">
                  <c:v>0.3511</c:v>
                </c:pt>
              </c:numCache>
            </c:numRef>
          </c:xVal>
          <c:yVal>
            <c:numRef>
              <c:f>Sheet1!$B$2:$B$4</c:f>
              <c:numCache>
                <c:formatCode>General</c:formatCode>
                <c:ptCount val="3"/>
                <c:pt idx="0">
                  <c:v>0.4532</c:v>
                </c:pt>
                <c:pt idx="1">
                  <c:v>0.436</c:v>
                </c:pt>
                <c:pt idx="2">
                  <c:v>0.4318</c:v>
                </c:pt>
              </c:numCache>
            </c:numRef>
          </c:yVal>
          <c:bubbleSize>
            <c:numRef>
              <c:f>Sheet1!$C$2:$C$4</c:f>
              <c:numCache>
                <c:formatCode>General</c:formatCode>
                <c:ptCount val="3"/>
                <c:pt idx="0">
                  <c:v>16442909.691899998</c:v>
                </c:pt>
                <c:pt idx="1">
                  <c:v>1309446.5603</c:v>
                </c:pt>
                <c:pt idx="2">
                  <c:v>1299025.53000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46535999999999994"/>
          <c:min val="0.2808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863635748583"/>
        <c:crossBetween val="midCat"/>
      </c:valAx>
      <c:valAx>
        <c:axId val="1011451359"/>
        <c:scaling>
          <c:orientation val="minMax"/>
          <c:max val="0.90384"/>
          <c:min val="0.1054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325624560036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B$2:$B$5</c:f>
              <c:numCache>
                <c:formatCode>General</c:formatCode>
                <c:ptCount val="4"/>
                <c:pt idx="0">
                  <c:v>3.731427616800377</c:v>
                </c:pt>
                <c:pt idx="1">
                  <c:v>6.477163045566108</c:v>
                </c:pt>
                <c:pt idx="2">
                  <c:v>1.811492131993631</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C$2:$C$5</c:f>
              <c:numCache>
                <c:formatCode>General</c:formatCode>
                <c:ptCount val="4"/>
                <c:pt idx="0">
                  <c:v>1.3684723831996224</c:v>
                </c:pt>
                <c:pt idx="1">
                  <c:v>2.6577369544338914</c:v>
                </c:pt>
                <c:pt idx="2">
                  <c:v>2.506807868006369</c:v>
                </c:pt>
                <c:pt idx="3">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D$2:$D$5</c:f>
              <c:numCache>
                <c:formatCode>General</c:formatCode>
                <c:ptCount val="4"/>
                <c:pt idx="0">
                  <c:v>3.8343604341670616</c:v>
                </c:pt>
                <c:pt idx="1">
                  <c:v>5.989739846334434</c:v>
                </c:pt>
                <c:pt idx="2">
                  <c:v>4.108488832152858</c:v>
                </c:pt>
                <c:pt idx="3">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B$2:$B$10</c:f>
              <c:numCache>
                <c:formatCode>General</c:formatCode>
                <c:ptCount val="9"/>
                <c:pt idx="0">
                  <c:v>6.839531646239956</c:v>
                </c:pt>
                <c:pt idx="1">
                  <c:v>14.192114738292009</c:v>
                </c:pt>
                <c:pt idx="2">
                  <c:v>3.2126581464138413</c:v>
                </c:pt>
                <c:pt idx="3">
                  <c:v>1.7043</c:v>
                </c:pt>
                <c:pt idx="4">
                  <c:v>3.642571242245906</c:v>
                </c:pt>
                <c:pt idx="5">
                  <c:v>4.363833966000991</c:v>
                </c:pt>
                <c:pt idx="6">
                  <c:v>8.1992</c:v>
                </c:pt>
                <c:pt idx="7">
                  <c:v>3.6566000000000005</c:v>
                </c:pt>
                <c:pt idx="8">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C$2:$C$10</c:f>
              <c:numCache>
                <c:formatCode>General</c:formatCode>
                <c:ptCount val="9"/>
                <c:pt idx="0">
                  <c:v>3.067845066222738</c:v>
                </c:pt>
                <c:pt idx="1">
                  <c:v>6.233713223140496</c:v>
                </c:pt>
                <c:pt idx="2">
                  <c:v>2.8434209267930792</c:v>
                </c:pt>
                <c:pt idx="3">
                  <c:v>4.9948</c:v>
                </c:pt>
                <c:pt idx="4">
                  <c:v>2.390701797359631</c:v>
                </c:pt>
                <c:pt idx="5">
                  <c:v>1.6382184188810034</c:v>
                </c:pt>
                <c:pt idx="6">
                  <c:v>2.1175</c:v>
                </c:pt>
                <c:pt idx="7">
                  <c:v>2.3597</c:v>
                </c:pt>
                <c:pt idx="8">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D$2:$D$10</c:f>
              <c:numCache>
                <c:formatCode>General</c:formatCode>
                <c:ptCount val="9"/>
                <c:pt idx="0">
                  <c:v>4.683508421164115</c:v>
                </c:pt>
                <c:pt idx="1">
                  <c:v>5.771711167797839</c:v>
                </c:pt>
                <c:pt idx="2">
                  <c:v>3.9015932615950515</c:v>
                </c:pt>
                <c:pt idx="3">
                  <c:v>1.9227027413210482</c:v>
                </c:pt>
                <c:pt idx="4">
                  <c:v>3.505060028630509</c:v>
                </c:pt>
                <c:pt idx="5">
                  <c:v>2.3440792374979385</c:v>
                </c:pt>
                <c:pt idx="6">
                  <c:v>-4.146964765525983</c:v>
                </c:pt>
                <c:pt idx="7">
                  <c:v>-2.4417807692307667</c:v>
                </c:pt>
                <c:pt idx="8">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E$2:$E$10</c:f>
              <c:numCache>
                <c:formatCode>General</c:formatCode>
                <c:ptCount val="9"/>
                <c:pt idx="0">
                  <c:v>0.0</c:v>
                </c:pt>
                <c:pt idx="1">
                  <c:v>0.0</c:v>
                </c:pt>
                <c:pt idx="2">
                  <c:v>0.0</c:v>
                </c:pt>
                <c:pt idx="3">
                  <c:v>0.0</c:v>
                </c:pt>
                <c:pt idx="4">
                  <c:v>0.0</c:v>
                </c:pt>
                <c:pt idx="5">
                  <c:v>0.0</c:v>
                </c:pt>
                <c:pt idx="6">
                  <c:v>0.0</c:v>
                </c:pt>
                <c:pt idx="7">
                  <c:v>0.0</c:v>
                </c:pt>
                <c:pt idx="8">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B$2:$B$3</c:f>
              <c:numCache>
                <c:formatCode>General</c:formatCode>
                <c:ptCount val="2"/>
                <c:pt idx="0">
                  <c:v>3.513407984599932</c:v>
                </c:pt>
                <c:pt idx="1">
                  <c:v>6.3208347744360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C$2:$C$3</c:f>
              <c:numCache>
                <c:formatCode>General</c:formatCode>
                <c:ptCount val="2"/>
                <c:pt idx="0">
                  <c:v>5.943010227653164</c:v>
                </c:pt>
                <c:pt idx="1">
                  <c:v>2.5365119047619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D$2:$D$3</c:f>
              <c:numCache>
                <c:formatCode>General</c:formatCode>
                <c:ptCount val="2"/>
                <c:pt idx="0">
                  <c:v>5.477194877803816</c:v>
                </c:pt>
                <c:pt idx="1">
                  <c:v>4.677202474937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B$2:$B$6</c:f>
              <c:numCache>
                <c:formatCode>General</c:formatCode>
                <c:ptCount val="5"/>
                <c:pt idx="0">
                  <c:v>3.731684971057627</c:v>
                </c:pt>
                <c:pt idx="1">
                  <c:v>6.477163538161375</c:v>
                </c:pt>
                <c:pt idx="2">
                  <c:v>1.8129275374529839</c:v>
                </c:pt>
                <c:pt idx="3">
                  <c:v>8.009000000000002</c:v>
                </c:pt>
                <c:pt idx="4">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C$2:$C$6</c:f>
              <c:numCache>
                <c:formatCode>General</c:formatCode>
                <c:ptCount val="5"/>
                <c:pt idx="0">
                  <c:v>1.368215028942373</c:v>
                </c:pt>
                <c:pt idx="1">
                  <c:v>2.6577364618386254</c:v>
                </c:pt>
                <c:pt idx="2">
                  <c:v>2.5053724625470166</c:v>
                </c:pt>
                <c:pt idx="3">
                  <c:v>3.7053000000000003</c:v>
                </c:pt>
                <c:pt idx="4">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D$2:$D$6</c:f>
              <c:numCache>
                <c:formatCode>General</c:formatCode>
                <c:ptCount val="5"/>
                <c:pt idx="0">
                  <c:v>3.8479765070735015</c:v>
                </c:pt>
                <c:pt idx="1">
                  <c:v>6.164408628882589</c:v>
                </c:pt>
                <c:pt idx="2">
                  <c:v>4.1225074155841375</c:v>
                </c:pt>
                <c:pt idx="3">
                  <c:v>7.765849191877331</c:v>
                </c:pt>
                <c:pt idx="4">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B$2:$B$9</c:f>
              <c:numCache>
                <c:formatCode>General</c:formatCode>
                <c:ptCount val="8"/>
                <c:pt idx="0">
                  <c:v>3.233711386309951</c:v>
                </c:pt>
                <c:pt idx="1">
                  <c:v>5.054899165457547</c:v>
                </c:pt>
                <c:pt idx="2">
                  <c:v>2.542119626734359</c:v>
                </c:pt>
                <c:pt idx="3">
                  <c:v>5.02659039075498</c:v>
                </c:pt>
                <c:pt idx="4">
                  <c:v>2.2291999999999996</c:v>
                </c:pt>
                <c:pt idx="5">
                  <c:v>4.7177</c:v>
                </c:pt>
                <c:pt idx="6">
                  <c:v>2.6842</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C$2:$C$9</c:f>
              <c:numCache>
                <c:formatCode>General</c:formatCode>
                <c:ptCount val="8"/>
                <c:pt idx="0">
                  <c:v>0.9783532936787319</c:v>
                </c:pt>
                <c:pt idx="1">
                  <c:v>2.704414323310152</c:v>
                </c:pt>
                <c:pt idx="2">
                  <c:v>1.5464536791312902</c:v>
                </c:pt>
                <c:pt idx="3">
                  <c:v>4.5703</c:v>
                </c:pt>
                <c:pt idx="4">
                  <c:v>4.399799999999999</c:v>
                </c:pt>
                <c:pt idx="5">
                  <c:v>2.7761000000000005</c:v>
                </c:pt>
                <c:pt idx="6">
                  <c:v>1.5422000000000002</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D$2:$D$9</c:f>
              <c:numCache>
                <c:formatCode>General</c:formatCode>
                <c:ptCount val="8"/>
                <c:pt idx="0">
                  <c:v>2.285114535560834</c:v>
                </c:pt>
                <c:pt idx="1">
                  <c:v>3.247973158553058</c:v>
                </c:pt>
                <c:pt idx="2">
                  <c:v>2.403455607478132</c:v>
                </c:pt>
                <c:pt idx="3">
                  <c:v>5.42089618038381</c:v>
                </c:pt>
                <c:pt idx="4">
                  <c:v>2.335967770032089</c:v>
                </c:pt>
                <c:pt idx="5">
                  <c:v>3.516074412807976</c:v>
                </c:pt>
                <c:pt idx="6">
                  <c:v>2.2714615812527894</c:v>
                </c:pt>
                <c:pt idx="7">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37819208969</c:v>
                </c:pt>
                <c:pt idx="1">
                  <c:v>-0.003430243957590782</c:v>
                </c:pt>
                <c:pt idx="2">
                  <c:v>1.7056911935876407</c:v>
                </c:pt>
                <c:pt idx="3">
                  <c:v>1.1328696165771632</c:v>
                </c:pt>
                <c:pt idx="4">
                  <c:v>0.8624432843284106</c:v>
                </c:pt>
                <c:pt idx="5">
                  <c:v>0.007397264522421947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621807910314</c:v>
                </c:pt>
                <c:pt idx="1">
                  <c:v>1.3028827290688574</c:v>
                </c:pt>
                <c:pt idx="2">
                  <c:v>1.5965622189302155</c:v>
                </c:pt>
                <c:pt idx="3">
                  <c:v>1.1631303834228373</c:v>
                </c:pt>
                <c:pt idx="4">
                  <c:v>0.9352138114366597</c:v>
                </c:pt>
                <c:pt idx="5">
                  <c:v>0.69604793428167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544815258828254</c:v>
                </c:pt>
                <c:pt idx="1">
                  <c:v>0.8778978962155624</c:v>
                </c:pt>
                <c:pt idx="2">
                  <c:v>2.67736377440347</c:v>
                </c:pt>
                <c:pt idx="3">
                  <c:v>1.8581278447161123</c:v>
                </c:pt>
                <c:pt idx="4">
                  <c:v>2.174250147950246</c:v>
                </c:pt>
                <c:pt idx="5">
                  <c:v>0.300003605440502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B$2:$B$9</c:f>
              <c:numCache>
                <c:formatCode>General</c:formatCode>
                <c:ptCount val="8"/>
                <c:pt idx="0">
                  <c:v>3.2338951948404397</c:v>
                </c:pt>
                <c:pt idx="1">
                  <c:v>5.055853692924589</c:v>
                </c:pt>
                <c:pt idx="2">
                  <c:v>2.5421692679824663</c:v>
                </c:pt>
                <c:pt idx="3">
                  <c:v>5.025506923942544</c:v>
                </c:pt>
                <c:pt idx="4">
                  <c:v>4.7177</c:v>
                </c:pt>
                <c:pt idx="5">
                  <c:v>4.8102</c:v>
                </c:pt>
                <c:pt idx="6">
                  <c:v>2.6842000000000006</c:v>
                </c:pt>
                <c:pt idx="7">
                  <c:v>2.22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C$2:$C$9</c:f>
              <c:numCache>
                <c:formatCode>General</c:formatCode>
                <c:ptCount val="8"/>
                <c:pt idx="0">
                  <c:v>0.97840348493798</c:v>
                </c:pt>
                <c:pt idx="1">
                  <c:v>2.7044202431768203</c:v>
                </c:pt>
                <c:pt idx="2">
                  <c:v>1.5464539916872968</c:v>
                </c:pt>
                <c:pt idx="3">
                  <c:v>4.5703000000000005</c:v>
                </c:pt>
                <c:pt idx="4">
                  <c:v>2.7761</c:v>
                </c:pt>
                <c:pt idx="5">
                  <c:v>5.0165</c:v>
                </c:pt>
                <c:pt idx="6">
                  <c:v>1.5422000000000002</c:v>
                </c:pt>
                <c:pt idx="7">
                  <c:v>4.3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D$2:$D$9</c:f>
              <c:numCache>
                <c:formatCode>General</c:formatCode>
                <c:ptCount val="8"/>
                <c:pt idx="0">
                  <c:v>2.3483884101467103</c:v>
                </c:pt>
                <c:pt idx="1">
                  <c:v>3.3410780494114602</c:v>
                </c:pt>
                <c:pt idx="2">
                  <c:v>2.4553521610756546</c:v>
                </c:pt>
                <c:pt idx="3">
                  <c:v>5.5877503673793605</c:v>
                </c:pt>
                <c:pt idx="4">
                  <c:v>3.6403016238868506</c:v>
                </c:pt>
                <c:pt idx="5">
                  <c:v>5.383490984284535</c:v>
                </c:pt>
                <c:pt idx="6">
                  <c:v>2.3442510388437228</c:v>
                </c:pt>
                <c:pt idx="7">
                  <c:v>2.97549560439560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B$2:$B$7</c:f>
              <c:numCache>
                <c:formatCode>General</c:formatCode>
                <c:ptCount val="6"/>
                <c:pt idx="0">
                  <c:v>1.3914279917437642</c:v>
                </c:pt>
                <c:pt idx="1">
                  <c:v>-0.004182630964775597</c:v>
                </c:pt>
                <c:pt idx="2">
                  <c:v>1.7060376426209658</c:v>
                </c:pt>
                <c:pt idx="3">
                  <c:v>1.1327056411257408</c:v>
                </c:pt>
                <c:pt idx="4">
                  <c:v>0.8628219693309717</c:v>
                </c:pt>
                <c:pt idx="5">
                  <c:v>0.0072837201226922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C$2:$C$7</c:f>
              <c:numCache>
                <c:formatCode>General</c:formatCode>
                <c:ptCount val="6"/>
                <c:pt idx="0">
                  <c:v>1.4418720082562353</c:v>
                </c:pt>
                <c:pt idx="1">
                  <c:v>1.3036357652451591</c:v>
                </c:pt>
                <c:pt idx="2">
                  <c:v>1.5962159688911657</c:v>
                </c:pt>
                <c:pt idx="3">
                  <c:v>1.1632943588742595</c:v>
                </c:pt>
                <c:pt idx="4">
                  <c:v>0.9348355467282192</c:v>
                </c:pt>
                <c:pt idx="5">
                  <c:v>0.696161294056369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D$2:$D$7</c:f>
              <c:numCache>
                <c:formatCode>General</c:formatCode>
                <c:ptCount val="6"/>
                <c:pt idx="0">
                  <c:v>2.7080953403413917</c:v>
                </c:pt>
                <c:pt idx="1">
                  <c:v>0.8782383366757269</c:v>
                </c:pt>
                <c:pt idx="2">
                  <c:v>2.679071955478973</c:v>
                </c:pt>
                <c:pt idx="3">
                  <c:v>1.9032435337331868</c:v>
                </c:pt>
                <c:pt idx="4">
                  <c:v>2.2055028915490187</c:v>
                </c:pt>
                <c:pt idx="5">
                  <c:v>0.314177075392921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B$2:$B$8</c:f>
              <c:numCache>
                <c:formatCode>General</c:formatCode>
                <c:ptCount val="7"/>
                <c:pt idx="0">
                  <c:v>5.061522740760723</c:v>
                </c:pt>
                <c:pt idx="1">
                  <c:v>3.2334426633358953</c:v>
                </c:pt>
                <c:pt idx="2">
                  <c:v>2.5448640435753433</c:v>
                </c:pt>
                <c:pt idx="3">
                  <c:v>5.040524876695438</c:v>
                </c:pt>
                <c:pt idx="4">
                  <c:v>4.7177</c:v>
                </c:pt>
                <c:pt idx="5">
                  <c:v>2.6842</c:v>
                </c:pt>
                <c:pt idx="6">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C$2:$C$8</c:f>
              <c:numCache>
                <c:formatCode>General</c:formatCode>
                <c:ptCount val="7"/>
                <c:pt idx="0">
                  <c:v>2.7044554019422713</c:v>
                </c:pt>
                <c:pt idx="1">
                  <c:v>0.978279915449654</c:v>
                </c:pt>
                <c:pt idx="2">
                  <c:v>1.546470958792882</c:v>
                </c:pt>
                <c:pt idx="3">
                  <c:v>4.5703</c:v>
                </c:pt>
                <c:pt idx="4">
                  <c:v>2.7761</c:v>
                </c:pt>
                <c:pt idx="5">
                  <c:v>1.5422</c:v>
                </c:pt>
                <c:pt idx="6">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D$2:$D$8</c:f>
              <c:numCache>
                <c:formatCode>General</c:formatCode>
                <c:ptCount val="7"/>
                <c:pt idx="0">
                  <c:v>3.261581818181818</c:v>
                </c:pt>
                <c:pt idx="1">
                  <c:v>2.299730149884703</c:v>
                </c:pt>
                <c:pt idx="2">
                  <c:v>2.408151879919706</c:v>
                </c:pt>
                <c:pt idx="3">
                  <c:v>5.370473931360461</c:v>
                </c:pt>
                <c:pt idx="4">
                  <c:v>3.5501560439560427</c:v>
                </c:pt>
                <c:pt idx="5">
                  <c:v>2.282073205741627</c:v>
                </c:pt>
                <c:pt idx="6">
                  <c:v>5.19444377104377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E$2:$E$8</c:f>
              <c:numCache>
                <c:formatCode>General</c:formatCode>
                <c:ptCount val="7"/>
                <c:pt idx="0">
                  <c:v>0.0</c:v>
                </c:pt>
                <c:pt idx="1">
                  <c:v>0.0</c:v>
                </c:pt>
                <c:pt idx="2">
                  <c:v>0.0</c:v>
                </c:pt>
                <c:pt idx="3">
                  <c:v>0.0</c:v>
                </c:pt>
                <c:pt idx="4">
                  <c:v>0.0</c:v>
                </c:pt>
                <c:pt idx="5">
                  <c:v>0.0</c:v>
                </c:pt>
                <c:pt idx="6">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B$2:$B$7</c:f>
              <c:numCache>
                <c:formatCode>General</c:formatCode>
                <c:ptCount val="6"/>
                <c:pt idx="0">
                  <c:v>1.3910074025933514</c:v>
                </c:pt>
                <c:pt idx="1">
                  <c:v>-0.0028238252861935344</c:v>
                </c:pt>
                <c:pt idx="2">
                  <c:v>1.7034869891422082</c:v>
                </c:pt>
                <c:pt idx="3">
                  <c:v>1.1333460349501125</c:v>
                </c:pt>
                <c:pt idx="4">
                  <c:v>0.008419116543434663</c:v>
                </c:pt>
                <c:pt idx="5">
                  <c:v>0.86092684926402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C$2:$C$7</c:f>
              <c:numCache>
                <c:formatCode>General</c:formatCode>
                <c:ptCount val="6"/>
                <c:pt idx="0">
                  <c:v>1.4422925974066485</c:v>
                </c:pt>
                <c:pt idx="1">
                  <c:v>1.3022757871716868</c:v>
                </c:pt>
                <c:pt idx="2">
                  <c:v>1.5987651573191026</c:v>
                </c:pt>
                <c:pt idx="3">
                  <c:v>1.1626539650498875</c:v>
                </c:pt>
                <c:pt idx="4">
                  <c:v>0.6950277438086686</c:v>
                </c:pt>
                <c:pt idx="5">
                  <c:v>0.93672856344326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D$2:$D$7</c:f>
              <c:numCache>
                <c:formatCode>General</c:formatCode>
                <c:ptCount val="6"/>
                <c:pt idx="0">
                  <c:v>2.66158920546122</c:v>
                </c:pt>
                <c:pt idx="1">
                  <c:v>0.8780065175509717</c:v>
                </c:pt>
                <c:pt idx="2">
                  <c:v>2.6723387340501414</c:v>
                </c:pt>
                <c:pt idx="3">
                  <c:v>1.8636544225926142</c:v>
                </c:pt>
                <c:pt idx="4">
                  <c:v>0.30592544320460635</c:v>
                </c:pt>
                <c:pt idx="5">
                  <c:v>2.17838279553500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6C8B4EE-FCC2-40FC-89BB-5FE648787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512D027-B82B-49C2-A4B6-0BC32D881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055AA23-EC87-41FB-BDDE-CF09DE8AC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4D100BA-669A-4284-ACC9-F2D3EA55B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DA006C6-3AC3-4932-8916-591621125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B80CC18-F31E-4A74-A19A-25BD04A45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6D6B3B6-6CF3-44A4-AADB-B0F8C16AB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978E985-215C-4004-926B-2173791EB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61</c:v>
                </c:pt>
                <c:pt idx="1">
                  <c:v>2.0202</c:v>
                </c:pt>
                <c:pt idx="2">
                  <c:v>2.0193</c:v>
                </c:pt>
              </c:numCache>
            </c:numRef>
          </c:xVal>
          <c:yVal>
            <c:numRef>
              <c:f>Sheet1!$B$2:$B$4</c:f>
              <c:numCache>
                <c:formatCode>General</c:formatCode>
                <c:ptCount val="3"/>
                <c:pt idx="0">
                  <c:v>0.4432</c:v>
                </c:pt>
                <c:pt idx="1">
                  <c:v>0.5259</c:v>
                </c:pt>
                <c:pt idx="2">
                  <c:v>0.5308</c:v>
                </c:pt>
              </c:numCache>
            </c:numRef>
          </c:yVal>
          <c:bubbleSize>
            <c:numRef>
              <c:f>Sheet1!$C$2:$C$4</c:f>
              <c:numCache>
                <c:formatCode>General</c:formatCode>
                <c:ptCount val="3"/>
                <c:pt idx="0">
                  <c:v>3375658.9168999996</c:v>
                </c:pt>
                <c:pt idx="1">
                  <c:v>181538.09279999993</c:v>
                </c:pt>
                <c:pt idx="2">
                  <c:v>176237.340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0332"/>
          <c:min val="1.615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56455547857"/>
        <c:crossBetween val="midCat"/>
      </c:valAx>
      <c:valAx>
        <c:axId val="1011451359"/>
        <c:scaling>
          <c:orientation val="minMax"/>
          <c:max val="0.99696"/>
          <c:min val="0.114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7974231095379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B$2:$B$9</c:f>
              <c:numCache>
                <c:formatCode>General</c:formatCode>
                <c:ptCount val="8"/>
                <c:pt idx="0">
                  <c:v>3.233715215106926</c:v>
                </c:pt>
                <c:pt idx="1">
                  <c:v>5.054232970869206</c:v>
                </c:pt>
                <c:pt idx="2">
                  <c:v>2.541888380255395</c:v>
                </c:pt>
                <c:pt idx="3">
                  <c:v>5.025910217783153</c:v>
                </c:pt>
                <c:pt idx="4">
                  <c:v>2.2291999999999996</c:v>
                </c:pt>
                <c:pt idx="5">
                  <c:v>4.7177</c:v>
                </c:pt>
                <c:pt idx="6">
                  <c:v>2.6841999999999997</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C$2:$C$9</c:f>
              <c:numCache>
                <c:formatCode>General</c:formatCode>
                <c:ptCount val="8"/>
                <c:pt idx="0">
                  <c:v>0.9783543391804891</c:v>
                </c:pt>
                <c:pt idx="1">
                  <c:v>2.7044101916499583</c:v>
                </c:pt>
                <c:pt idx="2">
                  <c:v>1.5464522231349414</c:v>
                </c:pt>
                <c:pt idx="3">
                  <c:v>4.5703</c:v>
                </c:pt>
                <c:pt idx="4">
                  <c:v>4.3998</c:v>
                </c:pt>
                <c:pt idx="5">
                  <c:v>2.7761</c:v>
                </c:pt>
                <c:pt idx="6">
                  <c:v>1.5421999999999998</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D$2:$D$9</c:f>
              <c:numCache>
                <c:formatCode>General</c:formatCode>
                <c:ptCount val="8"/>
                <c:pt idx="0">
                  <c:v>2.2777927239644518</c:v>
                </c:pt>
                <c:pt idx="1">
                  <c:v>3.2382940865668104</c:v>
                </c:pt>
                <c:pt idx="2">
                  <c:v>2.398801040997685</c:v>
                </c:pt>
                <c:pt idx="3">
                  <c:v>5.409317070708223</c:v>
                </c:pt>
                <c:pt idx="4">
                  <c:v>2.334137826183455</c:v>
                </c:pt>
                <c:pt idx="5">
                  <c:v>3.502975628196574</c:v>
                </c:pt>
                <c:pt idx="6">
                  <c:v>2.2649567847350456</c:v>
                </c:pt>
                <c:pt idx="7">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535853264212</c:v>
                </c:pt>
                <c:pt idx="1">
                  <c:v>-0.0034127103466726418</c:v>
                </c:pt>
                <c:pt idx="2">
                  <c:v>1.7058220196056355</c:v>
                </c:pt>
                <c:pt idx="3">
                  <c:v>1.132846593286125</c:v>
                </c:pt>
                <c:pt idx="4">
                  <c:v>0.862530590935272</c:v>
                </c:pt>
                <c:pt idx="5">
                  <c:v>0.0072931375268884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46414673579</c:v>
                </c:pt>
                <c:pt idx="1">
                  <c:v>1.3028651803297155</c:v>
                </c:pt>
                <c:pt idx="2">
                  <c:v>1.5964314680564011</c:v>
                </c:pt>
                <c:pt idx="3">
                  <c:v>1.1631534067138753</c:v>
                </c:pt>
                <c:pt idx="4">
                  <c:v>0.9351266017294732</c:v>
                </c:pt>
                <c:pt idx="5">
                  <c:v>0.69615189196502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49763853189348</c:v>
                </c:pt>
                <c:pt idx="1">
                  <c:v>0.877855437315233</c:v>
                </c:pt>
                <c:pt idx="2">
                  <c:v>2.6775867628565373</c:v>
                </c:pt>
                <c:pt idx="3">
                  <c:v>1.8539354866522482</c:v>
                </c:pt>
                <c:pt idx="4">
                  <c:v>2.171707915321968</c:v>
                </c:pt>
                <c:pt idx="5">
                  <c:v>0.298174359801346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B$2:$B$4</c:f>
              <c:numCache>
                <c:formatCode>General</c:formatCode>
                <c:ptCount val="3"/>
                <c:pt idx="0">
                  <c:v>3.212840593782746</c:v>
                </c:pt>
                <c:pt idx="1">
                  <c:v>3.645284745762712</c:v>
                </c:pt>
                <c:pt idx="2">
                  <c:v>1.70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C$2:$C$4</c:f>
              <c:numCache>
                <c:formatCode>General</c:formatCode>
                <c:ptCount val="3"/>
                <c:pt idx="0">
                  <c:v>2.8433297031086266</c:v>
                </c:pt>
                <c:pt idx="1">
                  <c:v>2.3905322033898306</c:v>
                </c:pt>
                <c:pt idx="2">
                  <c:v>4.9947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D$2:$D$4</c:f>
              <c:numCache>
                <c:formatCode>General</c:formatCode>
                <c:ptCount val="3"/>
                <c:pt idx="0">
                  <c:v>3.9021842228431716</c:v>
                </c:pt>
                <c:pt idx="1">
                  <c:v>3.3728459510357807</c:v>
                </c:pt>
                <c:pt idx="2">
                  <c:v>2.75878336933045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B$2:$B$2</c:f>
              <c:numCache>
                <c:formatCode>General</c:formatCode>
                <c:ptCount val="1"/>
                <c:pt idx="0">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C$2:$C$2</c:f>
              <c:numCache>
                <c:formatCode>General</c:formatCode>
                <c:ptCount val="1"/>
                <c:pt idx="0">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D$2:$D$2</c:f>
              <c:numCache>
                <c:formatCode>General</c:formatCode>
                <c:ptCount val="1"/>
                <c:pt idx="0">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B$2:$B$2</c:f>
              <c:numCache>
                <c:formatCode>General</c:formatCode>
                <c:ptCount val="1"/>
                <c:pt idx="0">
                  <c:v>1.8114921319936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C$2:$C$2</c:f>
              <c:numCache>
                <c:formatCode>General</c:formatCode>
                <c:ptCount val="1"/>
                <c:pt idx="0">
                  <c:v>2.50680786800636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D$2:$D$2</c:f>
              <c:numCache>
                <c:formatCode>General</c:formatCode>
                <c:ptCount val="1"/>
                <c:pt idx="0">
                  <c:v>4.10848883215285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B$2:$B$5</c:f>
              <c:numCache>
                <c:formatCode>General</c:formatCode>
                <c:ptCount val="4"/>
                <c:pt idx="0">
                  <c:v>3.212480951011117</c:v>
                </c:pt>
                <c:pt idx="1">
                  <c:v>1.7043</c:v>
                </c:pt>
                <c:pt idx="2">
                  <c:v>3.6424507269253144</c:v>
                </c:pt>
                <c:pt idx="3">
                  <c:v>3.65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C$2:$C$5</c:f>
              <c:numCache>
                <c:formatCode>General</c:formatCode>
                <c:ptCount val="4"/>
                <c:pt idx="0">
                  <c:v>2.8435095244944413</c:v>
                </c:pt>
                <c:pt idx="1">
                  <c:v>4.9948</c:v>
                </c:pt>
                <c:pt idx="2">
                  <c:v>2.390709329567168</c:v>
                </c:pt>
                <c:pt idx="3">
                  <c:v>2.35970000000000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D$2:$D$5</c:f>
              <c:numCache>
                <c:formatCode>General</c:formatCode>
                <c:ptCount val="4"/>
                <c:pt idx="0">
                  <c:v>3.9013673510708635</c:v>
                </c:pt>
                <c:pt idx="1">
                  <c:v>1.9202117629885382</c:v>
                </c:pt>
                <c:pt idx="2">
                  <c:v>3.5119923901304313</c:v>
                </c:pt>
                <c:pt idx="3">
                  <c:v>-2.38839302325581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B$2:$B$2</c:f>
              <c:numCache>
                <c:formatCode>General</c:formatCode>
                <c:ptCount val="1"/>
                <c:pt idx="0">
                  <c:v>3.513208131339177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C$2:$C$2</c:f>
              <c:numCache>
                <c:formatCode>General</c:formatCode>
                <c:ptCount val="1"/>
                <c:pt idx="0">
                  <c:v>5.94296780127213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D$2:$D$2</c:f>
              <c:numCache>
                <c:formatCode>General</c:formatCode>
                <c:ptCount val="1"/>
                <c:pt idx="0">
                  <c:v>5.47427276946879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9987786259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0012213740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305295729317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B$2:$B$2</c:f>
              <c:numCache>
                <c:formatCode>General</c:formatCode>
                <c:ptCount val="1"/>
                <c:pt idx="0">
                  <c:v>3.21468369595152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C$2:$C$2</c:f>
              <c:numCache>
                <c:formatCode>General</c:formatCode>
                <c:ptCount val="1"/>
                <c:pt idx="0">
                  <c:v>2.84240815202423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D$2:$D$2</c:f>
              <c:numCache>
                <c:formatCode>General</c:formatCode>
                <c:ptCount val="1"/>
                <c:pt idx="0">
                  <c:v>3.90382248347562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B$2:$B$2</c:f>
              <c:numCache>
                <c:formatCode>General</c:formatCode>
                <c:ptCount val="1"/>
                <c:pt idx="0">
                  <c:v>1.81334308256526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C$2:$C$2</c:f>
              <c:numCache>
                <c:formatCode>General</c:formatCode>
                <c:ptCount val="1"/>
                <c:pt idx="0">
                  <c:v>2.5049569174347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D$2:$D$2</c:f>
              <c:numCache>
                <c:formatCode>General</c:formatCode>
                <c:ptCount val="1"/>
                <c:pt idx="0">
                  <c:v>4.1284480818414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D6FAECA-10D8-4E29-A206-04140BD86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B92AF20-BBD1-44E4-9C64-F007DB931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149C03E-9E7D-45D4-839F-488A086E9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3F3BA6F-1E26-484D-92A8-EAC49AF0B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9A9F3FB-19D1-4EDB-9346-86C768499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2B05271-092F-480A-9E05-587B6AD26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AC6849F-D3E6-4244-9819-130CC24C4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F273F15-F8F1-44CC-AE51-7A66FE020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2</c:v>
                </c:pt>
                <c:pt idx="1">
                  <c:v>2.1586</c:v>
                </c:pt>
                <c:pt idx="2">
                  <c:v>2.1589</c:v>
                </c:pt>
              </c:numCache>
            </c:numRef>
          </c:xVal>
          <c:yVal>
            <c:numRef>
              <c:f>Sheet1!$B$2:$B$4</c:f>
              <c:numCache>
                <c:formatCode>General</c:formatCode>
                <c:ptCount val="3"/>
                <c:pt idx="0">
                  <c:v>0.4198</c:v>
                </c:pt>
                <c:pt idx="1">
                  <c:v>0.4195</c:v>
                </c:pt>
                <c:pt idx="2">
                  <c:v>0.4199</c:v>
                </c:pt>
              </c:numCache>
            </c:numRef>
          </c:yVal>
          <c:bubbleSize>
            <c:numRef>
              <c:f>Sheet1!$C$2:$C$4</c:f>
              <c:numCache>
                <c:formatCode>General</c:formatCode>
                <c:ptCount val="3"/>
                <c:pt idx="0">
                  <c:v>1046552.1158</c:v>
                </c:pt>
                <c:pt idx="1">
                  <c:v>78650.09289999999</c:v>
                </c:pt>
                <c:pt idx="2">
                  <c:v>89489.1703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1.7268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78794252508744"/>
        <c:crossBetween val="midCat"/>
      </c:valAx>
      <c:valAx>
        <c:axId val="1011451359"/>
        <c:scaling>
          <c:orientation val="minMax"/>
          <c:max val="0.86388"/>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3904887436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B$2:$B$5</c:f>
              <c:numCache>
                <c:formatCode>General</c:formatCode>
                <c:ptCount val="4"/>
                <c:pt idx="0">
                  <c:v>3.2126581464138413</c:v>
                </c:pt>
                <c:pt idx="1">
                  <c:v>1.7043</c:v>
                </c:pt>
                <c:pt idx="2">
                  <c:v>3.642571242245906</c:v>
                </c:pt>
                <c:pt idx="3">
                  <c:v>3.65660000000000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C$2:$C$5</c:f>
              <c:numCache>
                <c:formatCode>General</c:formatCode>
                <c:ptCount val="4"/>
                <c:pt idx="0">
                  <c:v>2.8434209267930792</c:v>
                </c:pt>
                <c:pt idx="1">
                  <c:v>4.9948</c:v>
                </c:pt>
                <c:pt idx="2">
                  <c:v>2.390701797359631</c:v>
                </c:pt>
                <c:pt idx="3">
                  <c:v>2.35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D$2:$D$5</c:f>
              <c:numCache>
                <c:formatCode>General</c:formatCode>
                <c:ptCount val="4"/>
                <c:pt idx="0">
                  <c:v>3.9015932615950515</c:v>
                </c:pt>
                <c:pt idx="1">
                  <c:v>1.9227027413210482</c:v>
                </c:pt>
                <c:pt idx="2">
                  <c:v>3.505060028630509</c:v>
                </c:pt>
                <c:pt idx="3">
                  <c:v>-2.44178076923076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B$2:$B$2</c:f>
              <c:numCache>
                <c:formatCode>General</c:formatCode>
                <c:ptCount val="1"/>
                <c:pt idx="0">
                  <c:v>3.51340798459993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C$2:$C$2</c:f>
              <c:numCache>
                <c:formatCode>General</c:formatCode>
                <c:ptCount val="1"/>
                <c:pt idx="0">
                  <c:v>5.94301022765316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D$2:$D$2</c:f>
              <c:numCache>
                <c:formatCode>General</c:formatCode>
                <c:ptCount val="1"/>
                <c:pt idx="0">
                  <c:v>5.4771948778038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2753745298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7246254701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250741558413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B$2:$B$6</c:f>
              <c:numCache>
                <c:formatCode>General</c:formatCode>
                <c:ptCount val="5"/>
                <c:pt idx="0">
                  <c:v>6.839531646239956</c:v>
                </c:pt>
                <c:pt idx="1">
                  <c:v>14.192114738292009</c:v>
                </c:pt>
                <c:pt idx="2">
                  <c:v>4.363833966000991</c:v>
                </c:pt>
                <c:pt idx="3">
                  <c:v>8.1992</c:v>
                </c:pt>
                <c:pt idx="4">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C$2:$C$6</c:f>
              <c:numCache>
                <c:formatCode>General</c:formatCode>
                <c:ptCount val="5"/>
                <c:pt idx="0">
                  <c:v>3.067845066222738</c:v>
                </c:pt>
                <c:pt idx="1">
                  <c:v>6.233713223140496</c:v>
                </c:pt>
                <c:pt idx="2">
                  <c:v>1.6382184188810034</c:v>
                </c:pt>
                <c:pt idx="3">
                  <c:v>2.1175</c:v>
                </c:pt>
                <c:pt idx="4">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D$2:$D$6</c:f>
              <c:numCache>
                <c:formatCode>General</c:formatCode>
                <c:ptCount val="5"/>
                <c:pt idx="0">
                  <c:v>4.683508421164115</c:v>
                </c:pt>
                <c:pt idx="1">
                  <c:v>5.771711167797839</c:v>
                </c:pt>
                <c:pt idx="2">
                  <c:v>2.3440792374979385</c:v>
                </c:pt>
                <c:pt idx="3">
                  <c:v>-4.146964765525983</c:v>
                </c:pt>
                <c:pt idx="4">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B$2:$B$2</c:f>
              <c:numCache>
                <c:formatCode>General</c:formatCode>
                <c:ptCount val="1"/>
                <c:pt idx="0">
                  <c:v>6.3208347744360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C$2:$C$2</c:f>
              <c:numCache>
                <c:formatCode>General</c:formatCode>
                <c:ptCount val="1"/>
                <c:pt idx="0">
                  <c:v>2.5365119047619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D$2:$D$2</c:f>
              <c:numCache>
                <c:formatCode>General</c:formatCode>
                <c:ptCount val="1"/>
                <c:pt idx="0">
                  <c:v>4.677202474937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B$2:$B$5</c:f>
              <c:numCache>
                <c:formatCode>General</c:formatCode>
                <c:ptCount val="4"/>
                <c:pt idx="0">
                  <c:v>3.731684971057627</c:v>
                </c:pt>
                <c:pt idx="1">
                  <c:v>6.477163538161375</c:v>
                </c:pt>
                <c:pt idx="2">
                  <c:v>8.009000000000002</c:v>
                </c:pt>
                <c:pt idx="3">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C$2:$C$5</c:f>
              <c:numCache>
                <c:formatCode>General</c:formatCode>
                <c:ptCount val="4"/>
                <c:pt idx="0">
                  <c:v>1.368215028942373</c:v>
                </c:pt>
                <c:pt idx="1">
                  <c:v>2.6577364618386254</c:v>
                </c:pt>
                <c:pt idx="2">
                  <c:v>3.7053000000000003</c:v>
                </c:pt>
                <c:pt idx="3">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D$2:$D$5</c:f>
              <c:numCache>
                <c:formatCode>General</c:formatCode>
                <c:ptCount val="4"/>
                <c:pt idx="0">
                  <c:v>3.8479765070735015</c:v>
                </c:pt>
                <c:pt idx="1">
                  <c:v>6.164408628882589</c:v>
                </c:pt>
                <c:pt idx="2">
                  <c:v>7.765849191877331</c:v>
                </c:pt>
                <c:pt idx="3">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B$2:$B$4</c:f>
              <c:numCache>
                <c:formatCode>General</c:formatCode>
                <c:ptCount val="3"/>
                <c:pt idx="0">
                  <c:v>6.851935325602143</c:v>
                </c:pt>
                <c:pt idx="1">
                  <c:v>14.210997661380745</c:v>
                </c:pt>
                <c:pt idx="2">
                  <c:v>4.36266078431372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C$2:$C$4</c:f>
              <c:numCache>
                <c:formatCode>General</c:formatCode>
                <c:ptCount val="3"/>
                <c:pt idx="0">
                  <c:v>3.0701073392263396</c:v>
                </c:pt>
                <c:pt idx="1">
                  <c:v>6.237651513695339</c:v>
                </c:pt>
                <c:pt idx="2">
                  <c:v>1.63938431372549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D$2:$D$4</c:f>
              <c:numCache>
                <c:formatCode>General</c:formatCode>
                <c:ptCount val="3"/>
                <c:pt idx="0">
                  <c:v>4.685078760846647</c:v>
                </c:pt>
                <c:pt idx="1">
                  <c:v>5.746769694057345</c:v>
                </c:pt>
                <c:pt idx="2">
                  <c:v>1.5255292335115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B$2:$B$4</c:f>
              <c:numCache>
                <c:formatCode>General</c:formatCode>
                <c:ptCount val="3"/>
                <c:pt idx="0">
                  <c:v>3.731427616800377</c:v>
                </c:pt>
                <c:pt idx="1">
                  <c:v>6.47716304556610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C$2:$C$4</c:f>
              <c:numCache>
                <c:formatCode>General</c:formatCode>
                <c:ptCount val="3"/>
                <c:pt idx="0">
                  <c:v>1.3684723831996224</c:v>
                </c:pt>
                <c:pt idx="1">
                  <c:v>2.6577369544338914</c:v>
                </c:pt>
                <c:pt idx="2">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D$2:$D$4</c:f>
              <c:numCache>
                <c:formatCode>General</c:formatCode>
                <c:ptCount val="3"/>
                <c:pt idx="0">
                  <c:v>3.8343604341670616</c:v>
                </c:pt>
                <c:pt idx="1">
                  <c:v>5.989739846334434</c:v>
                </c:pt>
                <c:pt idx="2">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B$2:$B$4</c:f>
              <c:numCache>
                <c:formatCode>General</c:formatCode>
                <c:ptCount val="3"/>
                <c:pt idx="0">
                  <c:v>6.834024652851955</c:v>
                </c:pt>
                <c:pt idx="1">
                  <c:v>8.1992</c:v>
                </c:pt>
                <c:pt idx="2">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C$2:$C$4</c:f>
              <c:numCache>
                <c:formatCode>General</c:formatCode>
                <c:ptCount val="3"/>
                <c:pt idx="0">
                  <c:v>3.066840660827458</c:v>
                </c:pt>
                <c:pt idx="1">
                  <c:v>2.1174999999999997</c:v>
                </c:pt>
                <c:pt idx="2">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D$2:$D$4</c:f>
              <c:numCache>
                <c:formatCode>General</c:formatCode>
                <c:ptCount val="3"/>
                <c:pt idx="0">
                  <c:v>4.6694399772128445</c:v>
                </c:pt>
                <c:pt idx="1">
                  <c:v>-4.9168</c:v>
                </c:pt>
                <c:pt idx="2">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B$2:$B$4</c:f>
              <c:numCache>
                <c:formatCode>General</c:formatCode>
                <c:ptCount val="3"/>
                <c:pt idx="0">
                  <c:v>3.7319013056942776</c:v>
                </c:pt>
                <c:pt idx="1">
                  <c:v>6.47715481105112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C$2:$C$4</c:f>
              <c:numCache>
                <c:formatCode>General</c:formatCode>
                <c:ptCount val="3"/>
                <c:pt idx="0">
                  <c:v>1.3679986943057223</c:v>
                </c:pt>
                <c:pt idx="1">
                  <c:v>2.6577451889488724</c:v>
                </c:pt>
                <c:pt idx="2">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D$2:$D$4</c:f>
              <c:numCache>
                <c:formatCode>General</c:formatCode>
                <c:ptCount val="3"/>
                <c:pt idx="0">
                  <c:v>3.8513384342828445</c:v>
                </c:pt>
                <c:pt idx="1">
                  <c:v>5.099460114322007</c:v>
                </c:pt>
                <c:pt idx="2">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28466FB-7C26-4FB9-8F29-9C2AFA23D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E1AC2A1-27BF-487B-A83E-D56110D01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55247E1-D796-427F-8CE8-DC396C88C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CEC9E32-D2A1-4D61-8F6A-AC16636DD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AAB5583-4D5F-4D2A-A349-B8FE0A917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E1F8C84-A217-4DAC-9EF6-0082869A2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49C188C-C58F-4C47-B1BA-D714EB4AC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E35091B-CA53-41D5-98F6-F59225513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618</c:v>
                </c:pt>
                <c:pt idx="1">
                  <c:v>4.7263</c:v>
                </c:pt>
              </c:numCache>
            </c:numRef>
          </c:xVal>
          <c:yVal>
            <c:numRef>
              <c:f>Sheet1!$B$2:$B$3</c:f>
              <c:numCache>
                <c:formatCode>General</c:formatCode>
                <c:ptCount val="2"/>
                <c:pt idx="0">
                  <c:v>0.4526</c:v>
                </c:pt>
                <c:pt idx="1">
                  <c:v>0.3715</c:v>
                </c:pt>
              </c:numCache>
            </c:numRef>
          </c:yVal>
          <c:bubbleSize>
            <c:numRef>
              <c:f>Sheet1!$C$2:$C$3</c:f>
              <c:numCache>
                <c:formatCode>General</c:formatCode>
                <c:ptCount val="2"/>
                <c:pt idx="0">
                  <c:v>3676928.548999999</c:v>
                </c:pt>
                <c:pt idx="1">
                  <c:v>56493.2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1.649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728143651546"/>
        <c:crossBetween val="midCat"/>
      </c:valAx>
      <c:valAx>
        <c:axId val="1011451359"/>
        <c:scaling>
          <c:orientation val="minMax"/>
          <c:max val="0.9031199999999999"/>
          <c:min val="0.0572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0211857119661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ABAAC77-BEB5-4F53-9922-5F9A1F566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64D155F-9306-43F2-A0C0-9F277CD80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A92F4D7-A066-4735-B8A3-04F16F76E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2EFE99D-0F2A-49D4-B45F-133BD7A36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6E1D1D6-38BF-4CF3-9029-D0D58049E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C403B04-7B54-41A5-A1F6-F7BBBC9DD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3EB25CA-D949-42C2-9F8C-9766388D9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792E8E7-CE5C-40A5-961C-F3A102E29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83</c:v>
                </c:pt>
                <c:pt idx="1">
                  <c:v>1.6656</c:v>
                </c:pt>
                <c:pt idx="2">
                  <c:v>1.6525</c:v>
                </c:pt>
              </c:numCache>
            </c:numRef>
          </c:xVal>
          <c:yVal>
            <c:numRef>
              <c:f>Sheet1!$B$2:$B$4</c:f>
              <c:numCache>
                <c:formatCode>General</c:formatCode>
                <c:ptCount val="3"/>
                <c:pt idx="0">
                  <c:v>0.693</c:v>
                </c:pt>
                <c:pt idx="1">
                  <c:v>0.6926</c:v>
                </c:pt>
                <c:pt idx="2">
                  <c:v>0.6908</c:v>
                </c:pt>
              </c:numCache>
            </c:numRef>
          </c:yVal>
          <c:bubbleSize>
            <c:numRef>
              <c:f>Sheet1!$C$2:$C$4</c:f>
              <c:numCache>
                <c:formatCode>General</c:formatCode>
                <c:ptCount val="3"/>
                <c:pt idx="0">
                  <c:v>5755991.045600001</c:v>
                </c:pt>
                <c:pt idx="1">
                  <c:v>377232.1177</c:v>
                </c:pt>
                <c:pt idx="2">
                  <c:v>280587.68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0196"/>
          <c:min val="1.32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8802294342241"/>
        <c:crossBetween val="midCat"/>
      </c:valAx>
      <c:valAx>
        <c:axId val="1011451359"/>
        <c:scaling>
          <c:orientation val="minMax"/>
          <c:max val="1.1915999999999998"/>
          <c:min val="0.3126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7449988630825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B$2:$B$6</c:f>
              <c:numCache>
                <c:formatCode>General</c:formatCode>
                <c:ptCount val="5"/>
                <c:pt idx="0">
                  <c:v>6.8390522795495094</c:v>
                </c:pt>
                <c:pt idx="1">
                  <c:v>14.19104302177007</c:v>
                </c:pt>
                <c:pt idx="2">
                  <c:v>4.3638916493596405</c:v>
                </c:pt>
                <c:pt idx="3">
                  <c:v>8.1992</c:v>
                </c:pt>
                <c:pt idx="4">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C$2:$C$6</c:f>
              <c:numCache>
                <c:formatCode>General</c:formatCode>
                <c:ptCount val="5"/>
                <c:pt idx="0">
                  <c:v>3.067757635848979</c:v>
                </c:pt>
                <c:pt idx="1">
                  <c:v>6.233489702076728</c:v>
                </c:pt>
                <c:pt idx="2">
                  <c:v>1.6381610938040845</c:v>
                </c:pt>
                <c:pt idx="3">
                  <c:v>2.1174999999999997</c:v>
                </c:pt>
                <c:pt idx="4">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D$2:$D$6</c:f>
              <c:numCache>
                <c:formatCode>General</c:formatCode>
                <c:ptCount val="5"/>
                <c:pt idx="0">
                  <c:v>4.684638127418941</c:v>
                </c:pt>
                <c:pt idx="1">
                  <c:v>5.777374179174487</c:v>
                </c:pt>
                <c:pt idx="2">
                  <c:v>2.383673624091382</c:v>
                </c:pt>
                <c:pt idx="3">
                  <c:v>-4.032519063545149</c:v>
                </c:pt>
                <c:pt idx="4">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B$2:$B$2</c:f>
              <c:numCache>
                <c:formatCode>General</c:formatCode>
                <c:ptCount val="1"/>
                <c:pt idx="0">
                  <c:v>6.3425399870382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C$2:$C$2</c:f>
              <c:numCache>
                <c:formatCode>General</c:formatCode>
                <c:ptCount val="1"/>
                <c:pt idx="0">
                  <c:v>2.5379539209332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D$2:$D$2</c:f>
              <c:numCache>
                <c:formatCode>General</c:formatCode>
                <c:ptCount val="1"/>
                <c:pt idx="0">
                  <c:v>4.7074104990278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B$2:$B$4</c:f>
              <c:numCache>
                <c:formatCode>General</c:formatCode>
                <c:ptCount val="3"/>
                <c:pt idx="0">
                  <c:v>3.731685929427754</c:v>
                </c:pt>
                <c:pt idx="1">
                  <c:v>6.477164216836477</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C$2:$C$4</c:f>
              <c:numCache>
                <c:formatCode>General</c:formatCode>
                <c:ptCount val="3"/>
                <c:pt idx="0">
                  <c:v>1.3682140705722463</c:v>
                </c:pt>
                <c:pt idx="1">
                  <c:v>2.6577357831635235</c:v>
                </c:pt>
                <c:pt idx="2">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D$2:$D$4</c:f>
              <c:numCache>
                <c:formatCode>General</c:formatCode>
                <c:ptCount val="3"/>
                <c:pt idx="0">
                  <c:v>3.848679181367342</c:v>
                </c:pt>
                <c:pt idx="1">
                  <c:v>6.255594305470023</c:v>
                </c:pt>
                <c:pt idx="2">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9FC9549-015E-4275-A0D0-55BCEFF8E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1B0BFB0-5F54-486B-9C62-0E2665011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AD9546E-FECF-47EF-A7A8-9ED8976DC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69FBEBB-FB15-433D-B78F-D86DB5F25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EA529F6-CD07-4AF6-8861-81BBF60E2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AC75EA7-528E-479C-BE45-192E81F30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494FFB1-6611-4794-8468-E367D26A7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38BD6BF-5AE6-4C16-8CB8-899B22A5D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5788943-62BA-41BD-B67D-DF6733497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0D319FB-2378-402F-BBC8-8430D5BAC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F049F6B-747E-4A65-B471-078DF7590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2008943-F686-4C8B-B126-29B07F1CF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EAB86C5-A0DC-46CA-96A6-C12BB0D5C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A526CD3-07E8-4D95-9A83-C87DBF65A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4FC74C0-422F-4EFE-A5C4-F6EE63FB3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5AE12CC-6996-4584-9807-BAA3567C4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12330CA-6332-468D-9930-560C20E00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7D81799-F1C3-42D6-B0CA-6046FC36E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ECA3333-B34A-4139-815A-C2E156048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64EBEF1-2A0B-48F2-B79B-905233A8E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CEFF1A2-2CD3-4560-9803-BBF3C59DB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433B6D5-68AC-4C53-8FD6-55F86E08D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6570AED-386A-4666-8369-2307E411C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FD09E5E-016E-4823-B0DE-B283C4DE7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340EB0A-A8B2-42B7-922C-8D87B8176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A49F02A-F292-4C78-A2B8-5AE172E4C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AF0BABA-599A-4DD9-B1BC-5B4E5C46C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A30F338-73A5-42A6-8AEE-7C1D03137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4E17B5A-6EC3-4979-9197-B46569BA8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73CBBE7-E908-4FB0-80CB-1E3F216AF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2E2C9B5-19BA-48B4-80AE-78858C24D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3EC9D69-F5F9-4438-A011-388C13938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5BB0D28-38A1-47B0-9DD8-DA9799FA8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8BD30F0-3CDD-4A20-BF95-728404A13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9594942-E156-46D8-A2AC-40A0DDC61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CDC5913-5B56-4275-AD46-8F4CC8470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6ACBAA0-0539-4278-85FA-F8DFCDA58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5A781E6-13A8-4A69-8845-A02FE9C61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78FA32C-FD5A-4E5B-A768-F63AFA027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05E081D-23F5-436D-917A-069BC8443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12B6A7C-E8A5-4724-950A-0245B25F2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CC9350B-9656-4A6A-A211-0BA0330A5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05A276F-20E7-45DF-950E-E69768023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1A81B2E-B92F-4257-B0E7-246C45E35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4B73A0E-41AC-494A-877F-B8526A32C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76A8D9E-4211-409B-BC52-89CBE40A8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0BCBD39-47AE-4AB1-97F2-C25186307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AE8EAA4-9EC1-40B7-8DBB-AFB689427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1E53C40-C182-4DE8-808A-735D72B84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DFA4D44-F82B-4072-873F-D4854796A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AE9CC4A-F5F7-4CBB-9ECE-B29297785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CB19C7D-3D7B-47FC-8FA2-3F971EACA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642BBF2-5B05-4142-8777-949D895C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2B16289-68C2-4E88-8743-70F8A7A64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AF1FB47-49C9-48E6-8283-0E6F666F3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C966238-8C17-4480-BF3D-0F68293C7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72CE857-FFB7-47EE-8037-14ECCC451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098</c:v>
                </c:pt>
                <c:pt idx="1">
                  <c:v>0.2917</c:v>
                </c:pt>
                <c:pt idx="2">
                  <c:v>0.368</c:v>
                </c:pt>
                <c:pt idx="3">
                  <c:v>0.3711</c:v>
                </c:pt>
                <c:pt idx="4">
                  <c:v>0.3539</c:v>
                </c:pt>
                <c:pt idx="5">
                  <c:v>0.2194</c:v>
                </c:pt>
                <c:pt idx="6">
                  <c:v>0.3752</c:v>
                </c:pt>
                <c:pt idx="7">
                  <c:v>0.3585</c:v>
                </c:pt>
                <c:pt idx="8">
                  <c:v>0.327</c:v>
                </c:pt>
                <c:pt idx="9">
                  <c:v>0.2027</c:v>
                </c:pt>
                <c:pt idx="10">
                  <c:v>0.301</c:v>
                </c:pt>
                <c:pt idx="11">
                  <c:v>0.3579</c:v>
                </c:pt>
                <c:pt idx="12">
                  <c:v>0.3207</c:v>
                </c:pt>
                <c:pt idx="13">
                  <c:v>0.3568</c:v>
                </c:pt>
                <c:pt idx="14">
                  <c:v>0.3918</c:v>
                </c:pt>
              </c:numCache>
            </c:numRef>
          </c:xVal>
          <c:yVal>
            <c:numRef>
              <c:f>Sheet1!$B$2:$B$16</c:f>
              <c:numCache>
                <c:formatCode>General</c:formatCode>
                <c:ptCount val="15"/>
                <c:pt idx="0">
                  <c:v>0.3363</c:v>
                </c:pt>
                <c:pt idx="1">
                  <c:v>0.2544</c:v>
                </c:pt>
                <c:pt idx="2">
                  <c:v>0.5237</c:v>
                </c:pt>
                <c:pt idx="3">
                  <c:v>0.372</c:v>
                </c:pt>
                <c:pt idx="4">
                  <c:v>0.4895</c:v>
                </c:pt>
                <c:pt idx="5">
                  <c:v>0.695</c:v>
                </c:pt>
                <c:pt idx="6">
                  <c:v>0.6218</c:v>
                </c:pt>
                <c:pt idx="7">
                  <c:v>0.6039</c:v>
                </c:pt>
                <c:pt idx="8">
                  <c:v>0.6295</c:v>
                </c:pt>
                <c:pt idx="9">
                  <c:v>0.7269</c:v>
                </c:pt>
                <c:pt idx="10">
                  <c:v>0.6515</c:v>
                </c:pt>
                <c:pt idx="11">
                  <c:v>0.7677</c:v>
                </c:pt>
                <c:pt idx="12">
                  <c:v>0.6906</c:v>
                </c:pt>
                <c:pt idx="13">
                  <c:v>0.6351</c:v>
                </c:pt>
                <c:pt idx="14">
                  <c:v>0.5305</c:v>
                </c:pt>
              </c:numCache>
            </c:numRef>
          </c:yVal>
          <c:bubbleSize>
            <c:numRef>
              <c:f>Sheet1!$C$2:$C$16</c:f>
              <c:numCache>
                <c:formatCode>General</c:formatCode>
                <c:ptCount val="15"/>
                <c:pt idx="0">
                  <c:v>874.0</c:v>
                </c:pt>
                <c:pt idx="1">
                  <c:v>1094.75</c:v>
                </c:pt>
                <c:pt idx="2">
                  <c:v>3373.205882352941</c:v>
                </c:pt>
                <c:pt idx="3">
                  <c:v>472.6</c:v>
                </c:pt>
                <c:pt idx="4">
                  <c:v>574.65625</c:v>
                </c:pt>
                <c:pt idx="5">
                  <c:v>5275.419354838709</c:v>
                </c:pt>
                <c:pt idx="6">
                  <c:v>3032.8736842105263</c:v>
                </c:pt>
                <c:pt idx="7">
                  <c:v>999.2</c:v>
                </c:pt>
                <c:pt idx="8">
                  <c:v>506.07142857142856</c:v>
                </c:pt>
                <c:pt idx="9">
                  <c:v>1055.75</c:v>
                </c:pt>
                <c:pt idx="10">
                  <c:v>3945.977011494253</c:v>
                </c:pt>
                <c:pt idx="11">
                  <c:v>4372.0</c:v>
                </c:pt>
                <c:pt idx="12">
                  <c:v>4560.025316455696</c:v>
                </c:pt>
                <c:pt idx="13">
                  <c:v>413.27272727272725</c:v>
                </c:pt>
                <c:pt idx="14">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1E30C16-AAB3-47FA-825C-87051DD1A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DF97622-6DF9-49C1-9119-BB835A0DB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D8D84DF-AFAA-4A1C-BB49-57170DE94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6FAF713-03E1-407D-A196-476C7E85B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CFBAEF0-9BAD-4DB5-8499-62F62E3C8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A1FF29C-A82E-47D3-A6A3-1D669E1D0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90F8A71-17E2-4002-AAC0-5BBF87F20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EA6A7CE-C178-4E97-9249-418A65E1B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165F398-983C-4E48-B299-674E2C188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4E976F6-087D-4A4C-9882-2D631825F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8CB4090-A311-4AB8-9C74-E4E1CC4B0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4A88D3D-0098-45E4-9E4B-3618932E0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CA61E8F-173D-41A7-8746-A11EA12A5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E9D88C5-95E7-483A-A160-053DC189E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402A77E-845F-4B64-8F4F-AA72D07B9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B28DDA1-B73F-493D-A242-B90E24C74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710726A-1274-405B-83AA-5DB436873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772BA00-3AE7-4F3D-B110-0FE9B5EE8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48C765B-F1FF-4F8F-BBD9-22428F1FD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03283AC-5487-4B0C-BB25-C0522E214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CA24CBD-F645-48CD-8C51-F7B432521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98F8EE1-EAC3-479A-8DA9-4D6ADDA08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8CC5246-E2F4-41CD-A690-A50032769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C16DCEC-3D34-47B2-ABF2-E20F1733E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E8A9941-2F4C-4553-A712-F8753BE8B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85E9B1E-4A1B-4919-A6EE-A3FF0A7C8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2C408AB-8ADC-4448-B1EC-12BD6DF6E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1C3EE18-1047-4128-951E-B93A0DFA4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B63FD1E-3977-4331-9A1E-FB1BC6F60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2ACA8A7-737D-4473-A943-E28F70F38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8C3F0AC-ABEB-4488-A39B-F7F770E78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78A4661-3808-4B50-B447-C465D0A2F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EB1A80C-8270-44B6-8307-95EF80F7E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46691A1-02BB-44BF-9EE7-4DEB6FD87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A276B2D-B9DC-4AAB-8387-65FDFCBC7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C9AC1A3-2594-4886-A537-40265AE46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4F9A096-2E28-47F1-AB22-44468ACBB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A35BE2E-E93A-4551-BC33-894B51F0F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0CC645A-FA16-4612-A49C-0BC5504C8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123DAC5-F737-49C7-B2B1-4F19C817A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F90F5ED-1456-4DC9-A0F4-4D01CA974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C30B211-2F4A-4C92-8689-CBEA24FFD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748F8DA-A6E8-4102-AF1D-66EFA7888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84D0558-6564-4149-8CED-79B88B036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C6579E5-79C4-4698-AC8E-91C6EA0CC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37B45B6-2565-4D0C-AB23-A8981C73E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4B97701-207B-40DC-9B62-06B4A36FA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EA29B67-E407-4BDF-B1C9-77996C12B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474F6ED-7DD5-48ED-A627-697DA624F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DCEDCFA-DE21-4FA3-B894-F3C2B8E85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6F3134F-E640-43F9-B9FF-77EF9B365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26FCF46-D06A-4BD7-97FE-95AA8BF55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DACE062-3C02-4D27-9611-69CEE2A41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4A45154-9FEF-4D4E-B52B-1E04E29EE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07E31CA-CD37-427F-B19E-F9A768F45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EEC9C3A-2541-4A75-9741-A46270722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BEAEDC6-0041-4FA9-8737-DE766A700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87</c:v>
                </c:pt>
                <c:pt idx="1">
                  <c:v>0.4875</c:v>
                </c:pt>
                <c:pt idx="2">
                  <c:v>0.4532</c:v>
                </c:pt>
                <c:pt idx="3">
                  <c:v>0.3974</c:v>
                </c:pt>
                <c:pt idx="4">
                  <c:v>0.5509</c:v>
                </c:pt>
                <c:pt idx="5">
                  <c:v>0.4479</c:v>
                </c:pt>
                <c:pt idx="6">
                  <c:v>0.3088</c:v>
                </c:pt>
                <c:pt idx="7">
                  <c:v>0.4033</c:v>
                </c:pt>
                <c:pt idx="8">
                  <c:v>0.396</c:v>
                </c:pt>
                <c:pt idx="9">
                  <c:v>0.4292</c:v>
                </c:pt>
              </c:numCache>
            </c:numRef>
          </c:xVal>
          <c:yVal>
            <c:numRef>
              <c:f>Sheet1!$B$2:$B$11</c:f>
              <c:numCache>
                <c:formatCode>General</c:formatCode>
                <c:ptCount val="10"/>
                <c:pt idx="0">
                  <c:v>0.4911</c:v>
                </c:pt>
                <c:pt idx="1">
                  <c:v>0.4195</c:v>
                </c:pt>
                <c:pt idx="2">
                  <c:v>0.4934</c:v>
                </c:pt>
                <c:pt idx="3">
                  <c:v>0.6837</c:v>
                </c:pt>
                <c:pt idx="4">
                  <c:v>0.48</c:v>
                </c:pt>
                <c:pt idx="5">
                  <c:v>0.5166</c:v>
                </c:pt>
                <c:pt idx="6">
                  <c:v>0.0104</c:v>
                </c:pt>
                <c:pt idx="7">
                  <c:v>-0.0032</c:v>
                </c:pt>
                <c:pt idx="8">
                  <c:v>0.7091</c:v>
                </c:pt>
                <c:pt idx="9">
                  <c:v>0.7317</c:v>
                </c:pt>
              </c:numCache>
            </c:numRef>
          </c:yVal>
          <c:bubbleSize>
            <c:numRef>
              <c:f>Sheet1!$C$2:$C$11</c:f>
              <c:numCache>
                <c:formatCode>General</c:formatCode>
                <c:ptCount val="10"/>
                <c:pt idx="0">
                  <c:v>6191.265306122449</c:v>
                </c:pt>
                <c:pt idx="1">
                  <c:v>2192.542857142857</c:v>
                </c:pt>
                <c:pt idx="2">
                  <c:v>2490.9578947368423</c:v>
                </c:pt>
                <c:pt idx="3">
                  <c:v>745.0597014925373</c:v>
                </c:pt>
                <c:pt idx="4">
                  <c:v>2380.074468085106</c:v>
                </c:pt>
                <c:pt idx="5">
                  <c:v>2854.177777777778</c:v>
                </c:pt>
                <c:pt idx="6">
                  <c:v>1268.8556701030927</c:v>
                </c:pt>
                <c:pt idx="7">
                  <c:v>3147.919191919192</c:v>
                </c:pt>
                <c:pt idx="8">
                  <c:v>2624.685185185185</c:v>
                </c:pt>
                <c:pt idx="9">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0FFAD70-EDBC-4AC1-8644-E39A2C7E2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92457B4-AAAD-4FB5-86CE-D769E307A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B8F60EF-BB17-4D7B-93B0-1D58B4A27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8485046-2987-461C-A9B3-6AF5BB173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B4B865B-7061-4FE6-BF8E-D7329D4C1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10B2C48-8E13-4E6B-982B-E42ED0F84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E92CB74-725A-4114-8797-52F27EDFF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276D500-1805-42DA-B8DA-90F11B972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22450E0-A6E6-48D5-A1AA-FAEDBFAF9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D609DE9-53FA-4BDD-9743-912839053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02E6113-4C74-4669-BBC1-2978B84F1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40DDD01-9E57-4367-B723-0F9740A05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151ACA6-795B-488D-8B5D-C8A4DA39E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FCB0FBC-BB08-4509-8BFC-90D6256B6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7078279-23F5-4E29-9BC8-3D5FBF5BA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32AB557-C9C3-45DC-AA2F-08F99A92F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4395FA8-B9CB-4127-8377-851D11A85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102770C-ACF7-41E7-9DC3-40C834A67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9CE910B-F8F9-45E0-80B4-3E69CB01C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83025B2-DB32-4DDC-B560-878D47AEC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9D11B34-9D9B-440D-B2F8-454AEC4E5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E79AE5A-5C80-4C29-8B75-13C568589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2CF8C00-AFC5-424C-8DEA-CA8E27092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9C09B4F-2A97-4425-9FE7-FFDD07565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A78F70F-0506-4DB3-8C64-E4CBB1C0B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D2949EE-C66A-479D-8E8D-04C1CD266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525726E-CFBE-4034-801C-1CFA242FD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19F801D-4F02-4942-874C-076155EC7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4AA4A25-AF32-4ECD-94D9-81F4A6D21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3F98D76-219A-47FE-8949-507EDDCE2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947D8C2-3B89-4743-BAB9-F5A63EBFF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F486B78-3660-465B-8185-422BD5D44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0F7AECE-3823-410C-99A4-2E25BB46A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04F755B-4C68-42B1-B836-7C24F51ED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AE7D77C-A23D-4A74-A4CF-3BC0BDC99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12E92DA-24D3-4FC0-AF9C-6B6E907B2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E18BAE6-3954-426E-8F47-468F8AD90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DB16283-5D3A-477A-A1CD-243784E14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15437F0-D846-4058-AADA-41E8BAAAB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AABB4F1-91B5-4F7B-906A-E1BA85491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8093972-4848-4C81-9E0D-365A23E44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4D15943-2CC0-4814-8D2E-64A54D4B3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D3BC133-6719-41A6-977D-7B6FFCDFD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50AE956-B092-434D-8B44-7593D9B48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7B8A997-4FC5-43AF-A28E-2D60E7837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D02E5D7-9714-4955-8972-D25542C83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DE26112-8471-4F8F-92DA-FD39B4B44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D0CAD52-80EE-43E8-AF4A-495A3A29D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6829ACB-8E71-4C4B-9838-079449AFA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3F51F30-8EA6-4DD4-AEF7-4C9F13BB3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9F632EA-3B80-44EA-846B-27B9ACB74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205C828-5ABD-46DF-9698-355DFE9B7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EC8E3FD-A648-4441-89BC-08E5F9043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E5FFD08-B0D0-49C7-AEEB-9484F413D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9ADAA3A-3BA9-4C46-8F83-9DA8D6D4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3329968-7213-4A7B-81BA-DE93EB0BB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FBF0219-71D6-4A54-BE1F-4BE9B1A94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6583</c:v>
                </c:pt>
                <c:pt idx="1">
                  <c:v>0.2604</c:v>
                </c:pt>
                <c:pt idx="2">
                  <c:v>0.2228</c:v>
                </c:pt>
                <c:pt idx="3">
                  <c:v>-1.683</c:v>
                </c:pt>
                <c:pt idx="4">
                  <c:v>0.3605</c:v>
                </c:pt>
                <c:pt idx="5">
                  <c:v>0.3666</c:v>
                </c:pt>
                <c:pt idx="6">
                  <c:v>0.3455</c:v>
                </c:pt>
                <c:pt idx="7">
                  <c:v>0.2205</c:v>
                </c:pt>
                <c:pt idx="8">
                  <c:v>0.3698</c:v>
                </c:pt>
                <c:pt idx="9">
                  <c:v>0.3679</c:v>
                </c:pt>
                <c:pt idx="10">
                  <c:v>0.3464</c:v>
                </c:pt>
                <c:pt idx="11">
                  <c:v>0.3185</c:v>
                </c:pt>
                <c:pt idx="12">
                  <c:v>0.2843</c:v>
                </c:pt>
                <c:pt idx="13">
                  <c:v>0.2945</c:v>
                </c:pt>
                <c:pt idx="14">
                  <c:v>0.351</c:v>
                </c:pt>
                <c:pt idx="15">
                  <c:v>-0.6417</c:v>
                </c:pt>
                <c:pt idx="16">
                  <c:v>0.3211</c:v>
                </c:pt>
                <c:pt idx="17">
                  <c:v>0.3489</c:v>
                </c:pt>
                <c:pt idx="18">
                  <c:v>0.3918</c:v>
                </c:pt>
              </c:numCache>
            </c:numRef>
          </c:xVal>
          <c:yVal>
            <c:numRef>
              <c:f>Sheet1!$B$2:$B$20</c:f>
              <c:numCache>
                <c:formatCode>General</c:formatCode>
                <c:ptCount val="19"/>
                <c:pt idx="0">
                  <c:v>0.6078</c:v>
                </c:pt>
                <c:pt idx="1">
                  <c:v>0.3363</c:v>
                </c:pt>
                <c:pt idx="2">
                  <c:v>0.2544</c:v>
                </c:pt>
                <c:pt idx="3">
                  <c:v>0.797</c:v>
                </c:pt>
                <c:pt idx="4">
                  <c:v>0.5237</c:v>
                </c:pt>
                <c:pt idx="5">
                  <c:v>0.3715</c:v>
                </c:pt>
                <c:pt idx="6">
                  <c:v>0.4895</c:v>
                </c:pt>
                <c:pt idx="7">
                  <c:v>0.6948</c:v>
                </c:pt>
                <c:pt idx="8">
                  <c:v>0.6217</c:v>
                </c:pt>
                <c:pt idx="9">
                  <c:v>0.6037</c:v>
                </c:pt>
                <c:pt idx="10">
                  <c:v>0.7142</c:v>
                </c:pt>
                <c:pt idx="11">
                  <c:v>0.6295</c:v>
                </c:pt>
                <c:pt idx="12">
                  <c:v>0.7271</c:v>
                </c:pt>
                <c:pt idx="13">
                  <c:v>0.6514</c:v>
                </c:pt>
                <c:pt idx="14">
                  <c:v>0.7677</c:v>
                </c:pt>
                <c:pt idx="15">
                  <c:v>0.7947</c:v>
                </c:pt>
                <c:pt idx="16">
                  <c:v>0.6903</c:v>
                </c:pt>
                <c:pt idx="17">
                  <c:v>0.6351</c:v>
                </c:pt>
                <c:pt idx="18">
                  <c:v>0.5305</c:v>
                </c:pt>
              </c:numCache>
            </c:numRef>
          </c:yVal>
          <c:bubbleSize>
            <c:numRef>
              <c:f>Sheet1!$C$2:$C$20</c:f>
              <c:numCache>
                <c:formatCode>General</c:formatCode>
                <c:ptCount val="19"/>
                <c:pt idx="0">
                  <c:v>1414.0</c:v>
                </c:pt>
                <c:pt idx="1">
                  <c:v>12997.022988505747</c:v>
                </c:pt>
                <c:pt idx="2">
                  <c:v>14923.912087912087</c:v>
                </c:pt>
                <c:pt idx="3">
                  <c:v>789.0</c:v>
                </c:pt>
                <c:pt idx="4">
                  <c:v>36036.28767123288</c:v>
                </c:pt>
                <c:pt idx="5">
                  <c:v>6680.846153846154</c:v>
                </c:pt>
                <c:pt idx="6">
                  <c:v>6147.757575757576</c:v>
                </c:pt>
                <c:pt idx="7">
                  <c:v>66122.91836734694</c:v>
                </c:pt>
                <c:pt idx="8">
                  <c:v>36195.333333333336</c:v>
                </c:pt>
                <c:pt idx="9">
                  <c:v>19149.166666666668</c:v>
                </c:pt>
                <c:pt idx="10">
                  <c:v>5990.285714285714</c:v>
                </c:pt>
                <c:pt idx="11">
                  <c:v>5750.290697674419</c:v>
                </c:pt>
                <c:pt idx="12">
                  <c:v>19381.2</c:v>
                </c:pt>
                <c:pt idx="13">
                  <c:v>42870.58620689655</c:v>
                </c:pt>
                <c:pt idx="14">
                  <c:v>44077.36842105263</c:v>
                </c:pt>
                <c:pt idx="15">
                  <c:v>4359.0</c:v>
                </c:pt>
                <c:pt idx="16">
                  <c:v>57541.3875</c:v>
                </c:pt>
                <c:pt idx="17">
                  <c:v>5099.131868131868</c:v>
                </c:pt>
                <c:pt idx="18">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98418C9-6032-4BE6-B3EE-3699BC4CD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E85F968-CD4C-4DF4-B2B0-BCC6D59C2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668E6CA-C557-4F5B-8E78-1BD4055FF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5819531-96E0-4A63-9EEF-1C36EA257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300B070-B37C-40E9-91F2-776705C3A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DCB7A53-7027-4341-B17B-2802F8B0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8C8D1A8-F99B-4336-A51D-9EC22256A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B545D08-1C7B-4F49-B143-B285FDD93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4B82D6F-0D28-43BE-BF3F-4B9D1F6F1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0B6A56C-3552-46A7-A0C8-4BDDBCA4D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7739848-95DE-4ED0-B078-319898879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08E74E1-98F8-4625-9B75-4E1AF6A06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7C5F6A0-E5BC-4515-AA46-4F3E8E26D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16A027C-DDEC-4335-AF59-3CDD4F307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4D378B9-5F44-4E0F-B975-E466B99C5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DAFCB4E-340D-4C06-A0E6-4E1633722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820B6BD-19F5-44DC-BDC7-183657ECC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047047F-CB74-4D3C-BE9F-6C0CD5D31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BB1424A-6689-4821-A80B-6DAD82F67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17F936B-E8C3-4713-9C7F-2CEDFA48A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EB34722-99BD-4BA8-AFB7-9FD517991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CDD2BDB-2A0E-4EA4-9614-5A8B23AC1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89A85B6-92B8-4AC6-B384-7D189F241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41B8378-53AE-41EE-947D-73D64EB8E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0E141B1-6F61-441B-A75F-499F19827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390BA82-DC01-4BDD-96E0-615EDAB99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CF928D4-0CB5-4CCD-8C43-1F3900EFB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4DD2FAD-85CF-41F8-8214-5D5AA4835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0D41A4F-9C2A-43FC-9384-55892BA31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E6EF4E0-A654-40E0-A6E7-D571F4B6D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91FCB3E-D0E2-41D0-97FF-2BB37D111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3E83E2B-F20D-4C21-B686-0386FA3D7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4927472-631B-42AA-9587-92166A0CE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EC86339-F2E0-4B0C-8D72-D26E26CDD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682A296-A2AF-457C-909B-10C7C0120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96130EE-AF46-459F-959A-F93D6C1BF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B3034EE-020B-4322-8EEE-057E571B7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5498C7B-82B8-485F-859D-61E08CE7F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33B5C78-AC3A-4122-8E07-2F35614F8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F858A1A-5486-4B63-802D-D09574EB7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4AB0BD2-B79A-4BBD-AD0A-1CF65A156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737077F-59FD-4287-85AA-9C23915DA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6A0F014-0D9C-4966-9DEE-60E1D238D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8CA23B3-80E7-4801-B034-43FBD46FF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8E21AB5-4C82-4487-8BEB-56508A52A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B1AC48B-6AD6-4E8B-B18C-89679DC9B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570926E-EFC9-4E52-B000-78D9C87AD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53B1294-D18B-4273-8D79-F0EB4F8E9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AE26603-4099-499D-846C-45B907AAB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B916B61-AFC6-4D1A-8A97-C2C627B95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97511A5-145A-4B29-8299-DFFB91490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B9386BF-62A2-42BB-B1DF-4F5846CA7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DC8BE73-4DEB-47FE-A70A-BB4FF9423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23FE039-6C33-4AC4-8ED4-1B6801B1E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3151026-7EFD-4BF1-80C2-392ACBDC7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986738D-0E56-41F4-825D-2A437839E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2B06C2B-B947-4B76-BAD0-3FBB89E93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33</c:v>
                </c:pt>
                <c:pt idx="1">
                  <c:v>0.4884</c:v>
                </c:pt>
                <c:pt idx="2">
                  <c:v>0.4467</c:v>
                </c:pt>
                <c:pt idx="3">
                  <c:v>0.3987</c:v>
                </c:pt>
                <c:pt idx="4">
                  <c:v>0.5471</c:v>
                </c:pt>
                <c:pt idx="5">
                  <c:v>0.4478</c:v>
                </c:pt>
                <c:pt idx="6">
                  <c:v>0.2977</c:v>
                </c:pt>
                <c:pt idx="7">
                  <c:v>0.4032</c:v>
                </c:pt>
                <c:pt idx="8">
                  <c:v>0.4065</c:v>
                </c:pt>
                <c:pt idx="9">
                  <c:v>0.4301</c:v>
                </c:pt>
              </c:numCache>
            </c:numRef>
          </c:xVal>
          <c:yVal>
            <c:numRef>
              <c:f>Sheet1!$B$2:$B$11</c:f>
              <c:numCache>
                <c:formatCode>General</c:formatCode>
                <c:ptCount val="10"/>
                <c:pt idx="0">
                  <c:v>0.4911</c:v>
                </c:pt>
                <c:pt idx="1">
                  <c:v>0.4198</c:v>
                </c:pt>
                <c:pt idx="2">
                  <c:v>0.4934</c:v>
                </c:pt>
                <c:pt idx="3">
                  <c:v>0.6837</c:v>
                </c:pt>
                <c:pt idx="4">
                  <c:v>0.4798</c:v>
                </c:pt>
                <c:pt idx="5">
                  <c:v>0.5166</c:v>
                </c:pt>
                <c:pt idx="6">
                  <c:v>0.0104</c:v>
                </c:pt>
                <c:pt idx="7">
                  <c:v>-0.0026</c:v>
                </c:pt>
                <c:pt idx="8">
                  <c:v>0.7091</c:v>
                </c:pt>
                <c:pt idx="9">
                  <c:v>0.7317</c:v>
                </c:pt>
              </c:numCache>
            </c:numRef>
          </c:yVal>
          <c:bubbleSize>
            <c:numRef>
              <c:f>Sheet1!$C$2:$C$11</c:f>
              <c:numCache>
                <c:formatCode>General</c:formatCode>
                <c:ptCount val="10"/>
                <c:pt idx="0">
                  <c:v>76941.12121212122</c:v>
                </c:pt>
                <c:pt idx="1">
                  <c:v>26568.493506493505</c:v>
                </c:pt>
                <c:pt idx="2">
                  <c:v>29486.863157894735</c:v>
                </c:pt>
                <c:pt idx="3">
                  <c:v>8564.56338028169</c:v>
                </c:pt>
                <c:pt idx="4">
                  <c:v>32042.24742268041</c:v>
                </c:pt>
                <c:pt idx="5">
                  <c:v>33695.24731182796</c:v>
                </c:pt>
                <c:pt idx="6">
                  <c:v>14956.69387755102</c:v>
                </c:pt>
                <c:pt idx="7">
                  <c:v>32799.73737373737</c:v>
                </c:pt>
                <c:pt idx="8">
                  <c:v>32905.13333333333</c:v>
                </c:pt>
                <c:pt idx="9">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1BB43F7-32D7-4830-BF6E-54A52758D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BD4DA01-5F20-449B-9B70-20071AFF9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5022E2-9BF3-4FDB-9B2F-7CFBD5CA9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CECEF3-DD56-4A69-B42C-23EBF4491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0AF4A03-BEEE-4F1E-9A09-9762DC236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4F95712-BE80-4CC9-856C-D6216EEB0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AF8581D-7CDF-4588-8B11-1EB383C83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95C2C46-DB25-474A-B0F0-E59D990BF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182E362-AC3B-479E-95BD-7B1AE516E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59D8A98-843A-4760-A34B-0329E165A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A93F540-37A1-4330-8AEC-AF1F1F8D6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B6E4938-47CA-4F7A-ACDA-2BB3B3EFC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EAB7E12-D7BF-41D5-9BD3-BC49425D8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5061729-905E-4369-B453-F8FCF4754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0F3E545-82DB-4A57-A90E-C68603482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7CED363-2E49-4D81-BF74-B0C533CC1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A8BD4EE-21E5-4298-95AA-30D258AE4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E0B82A7-1125-4DE6-A45E-362453542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EC7C5FB-1D1E-421A-940F-195F2DE76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185E3F7-C5A7-4112-885A-79126ADEB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12835D3-539D-4C1C-990F-4E96B9524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8C50515-9018-4F5B-B29C-52943ADF8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1856F3C-91C3-4996-95DF-669ACFDB8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E9B707A-FA7D-4947-84CB-2BDFBF3D6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FDDE293-ECF3-4A59-8D4A-A4A448CB3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D92D68A-2111-4345-84D7-1BF9FC071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7B76451-B35D-4328-8575-A1F2F4AF5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3395184-524C-4945-B37B-5DD78B7F5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8FED441-47DE-4485-9F4C-45352F296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E1F2918-900D-4956-B5C3-48421F73D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2D45B0C-6421-424A-9AEC-57456E497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79F6BFD-B8B9-4DE9-916E-1E5D3233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653EB84-CB82-4FF0-BCCC-31FE00A9C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D05488E-2B69-4D61-ABDF-585D0B540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C8141F9-C1AA-453B-B5B7-8204C7509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C78AC13-3D22-462D-BA28-250458AAC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D99B4E4-52A8-4FA1-A78F-9367EF56B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5F98DBA-4DAE-493B-9CA6-4CDEA09A2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2C20EE7-55ED-4B26-895D-28D4DD30D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CBA55DF-1969-44C4-82A3-AFD899491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A95F9CE-658B-46FB-B120-5EB1603E6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F9F47BD-E62A-4ED9-975F-65CF59ACB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1D51CEF-46E2-4361-BD29-6F23EBA7C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FE505B4-BB31-44A6-AFBC-1922C2985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16C823D-E046-43D0-BC84-23195C4E9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D3EB221-43DF-471A-B44A-0B34C2FA3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A4A1907-016B-4DDA-B9D4-E81A49FFA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A313AC6-748A-4A71-9C97-ACE1417BE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2511044-19B4-4E93-B2D5-A7C197356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9B2A560-0C4A-47B4-B1F2-6B5EE1ABB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92BA537-0EAC-4B47-8C66-0FD9B4D0E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7837900-FCD9-4CC2-A3C7-09AF3B927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45076F4-0FFB-4082-9DC8-ABA6283FA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E379079-6556-46E3-BE0D-D3B488015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EB822C9-CC37-42BC-A585-E090AC8C8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708AC7A-8E16-4AED-98AA-3F4DCEE57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17A1046-F4C7-42BD-B048-AE47C52C1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6831</c:v>
                </c:pt>
                <c:pt idx="1">
                  <c:v>0.2606</c:v>
                </c:pt>
                <c:pt idx="2">
                  <c:v>0.223</c:v>
                </c:pt>
                <c:pt idx="3">
                  <c:v>-1.6975</c:v>
                </c:pt>
                <c:pt idx="4">
                  <c:v>0.361</c:v>
                </c:pt>
                <c:pt idx="5">
                  <c:v>0.3668</c:v>
                </c:pt>
                <c:pt idx="6">
                  <c:v>0.3461</c:v>
                </c:pt>
                <c:pt idx="7">
                  <c:v>0.2203</c:v>
                </c:pt>
                <c:pt idx="8">
                  <c:v>0.3702</c:v>
                </c:pt>
                <c:pt idx="9">
                  <c:v>0.3675</c:v>
                </c:pt>
                <c:pt idx="10">
                  <c:v>0.3456</c:v>
                </c:pt>
                <c:pt idx="11">
                  <c:v>0.3194</c:v>
                </c:pt>
                <c:pt idx="12">
                  <c:v>0.2809</c:v>
                </c:pt>
                <c:pt idx="13">
                  <c:v>0.2951</c:v>
                </c:pt>
                <c:pt idx="14">
                  <c:v>0.3517</c:v>
                </c:pt>
                <c:pt idx="15">
                  <c:v>-0.6721</c:v>
                </c:pt>
                <c:pt idx="16">
                  <c:v>0.321</c:v>
                </c:pt>
                <c:pt idx="17">
                  <c:v>0.3496</c:v>
                </c:pt>
                <c:pt idx="18">
                  <c:v>0.3918</c:v>
                </c:pt>
              </c:numCache>
            </c:numRef>
          </c:xVal>
          <c:yVal>
            <c:numRef>
              <c:f>Sheet1!$B$2:$B$20</c:f>
              <c:numCache>
                <c:formatCode>General</c:formatCode>
                <c:ptCount val="19"/>
                <c:pt idx="0">
                  <c:v>0.6078</c:v>
                </c:pt>
                <c:pt idx="1">
                  <c:v>0.3363</c:v>
                </c:pt>
                <c:pt idx="2">
                  <c:v>0.2544</c:v>
                </c:pt>
                <c:pt idx="3">
                  <c:v>0.797</c:v>
                </c:pt>
                <c:pt idx="4">
                  <c:v>0.5238</c:v>
                </c:pt>
                <c:pt idx="5">
                  <c:v>0.3715</c:v>
                </c:pt>
                <c:pt idx="6">
                  <c:v>0.4895</c:v>
                </c:pt>
                <c:pt idx="7">
                  <c:v>0.6948</c:v>
                </c:pt>
                <c:pt idx="8">
                  <c:v>0.6218</c:v>
                </c:pt>
                <c:pt idx="9">
                  <c:v>0.6037</c:v>
                </c:pt>
                <c:pt idx="10">
                  <c:v>0.7136</c:v>
                </c:pt>
                <c:pt idx="11">
                  <c:v>0.6295</c:v>
                </c:pt>
                <c:pt idx="12">
                  <c:v>0.7271</c:v>
                </c:pt>
                <c:pt idx="13">
                  <c:v>0.6515</c:v>
                </c:pt>
                <c:pt idx="14">
                  <c:v>0.7677</c:v>
                </c:pt>
                <c:pt idx="15">
                  <c:v>0.7947</c:v>
                </c:pt>
                <c:pt idx="16">
                  <c:v>0.6903</c:v>
                </c:pt>
                <c:pt idx="17">
                  <c:v>0.6351</c:v>
                </c:pt>
                <c:pt idx="18">
                  <c:v>0.5305</c:v>
                </c:pt>
              </c:numCache>
            </c:numRef>
          </c:yVal>
          <c:bubbleSize>
            <c:numRef>
              <c:f>Sheet1!$C$2:$C$20</c:f>
              <c:numCache>
                <c:formatCode>General</c:formatCode>
                <c:ptCount val="19"/>
                <c:pt idx="0">
                  <c:v>1754.0</c:v>
                </c:pt>
                <c:pt idx="1">
                  <c:v>14944.044795783924</c:v>
                </c:pt>
                <c:pt idx="2">
                  <c:v>17159.559193954658</c:v>
                </c:pt>
                <c:pt idx="3">
                  <c:v>897.7777777777778</c:v>
                </c:pt>
                <c:pt idx="4">
                  <c:v>42879.101283880176</c:v>
                </c:pt>
                <c:pt idx="5">
                  <c:v>7625.128205128204</c:v>
                </c:pt>
                <c:pt idx="6">
                  <c:v>7261.435331230284</c:v>
                </c:pt>
                <c:pt idx="7">
                  <c:v>75823.49665924277</c:v>
                </c:pt>
                <c:pt idx="8">
                  <c:v>42642.53684210526</c:v>
                </c:pt>
                <c:pt idx="9">
                  <c:v>21416.964285714283</c:v>
                </c:pt>
                <c:pt idx="10">
                  <c:v>6750.3125</c:v>
                </c:pt>
                <c:pt idx="11">
                  <c:v>6803.554502369669</c:v>
                </c:pt>
                <c:pt idx="12">
                  <c:v>21518.936170212764</c:v>
                </c:pt>
                <c:pt idx="13">
                  <c:v>51342.777129521586</c:v>
                </c:pt>
                <c:pt idx="14">
                  <c:v>52579.06283280085</c:v>
                </c:pt>
                <c:pt idx="15">
                  <c:v>5644.0</c:v>
                </c:pt>
                <c:pt idx="16">
                  <c:v>68443.00636942674</c:v>
                </c:pt>
                <c:pt idx="17">
                  <c:v>6009.776785714285</c:v>
                </c:pt>
                <c:pt idx="18">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E4AED5B-C509-4647-8E22-C6E33FCFB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D7CDFB5-8C1B-4C2F-986F-C5EF52D7A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90EF27-9588-4938-B0FE-F9B89E5C8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A26FDA7-09C0-4957-A716-4392F75AE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8EBADD2-1D54-4B3F-AE1F-B0E353953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F3628A9-B6E8-49BE-861A-60F933893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9DF069D-D3CD-4E85-AC39-A094880BB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2AB6814-E19A-4410-8A02-38626261F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DBA672F-9DC9-4D59-AC54-342A05D7A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659DD6D-840B-409A-B7F4-B8C0445C8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4C56052-7293-4C4D-92D6-A8CC564A2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B62EFAC-186D-41FF-87FE-74DBEF125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5470FE1-843B-4505-B3AD-EDA999257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21DEB60-78D5-470D-A426-FBAEFC73E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0845B92-181B-44DD-9AC5-B40DF709C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4519E35-1320-49E7-AA28-68663CBB0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95267C2-599A-4B67-B684-EFB401766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6975D7C-99EF-4292-9D3D-2A609FE9E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43CFFDA-B901-41C4-8153-F76C8B93B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503A2E7-8106-4ECD-B2B8-7BCF0645A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DF0E772-EDDE-4552-8229-30F2F9D60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CBE0EEE-E2A5-473D-B075-8FF1CEDD2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C74C2F2-162D-4BB8-B11C-17F67F469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DE53154-DD71-4926-88BC-A63B58A79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C368765-22C2-45B5-9A7D-296239834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B9AC20A-08ED-4F97-BC18-A61DEEBBF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7C45AC7-4ADE-45CB-9515-00F7C05E4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7CAF5B1-C7D7-4385-95EB-B7C370E31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D798417-E434-42DA-B72F-39FC371AB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CD4846B-C230-42D4-ABFF-443C7DB5C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A2A5C0E-1355-4458-9B47-131A3106D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36E8F45-D375-4E3A-B47C-7377F7A94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12EE486-5578-400B-8879-2F26E97CB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25E423D-2B9F-4A68-895F-D6CC5189E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9F15D48-5C7D-4789-963A-166408D64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19AE618-5134-470F-B5E3-1E3017FC7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D67BDE2-4ED7-482F-931A-981166833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0AB6F71-54A4-449D-BA32-4F378A309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5C45F42-2553-4DFD-B340-5E1501291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BC585D8-E3FD-49EC-8EB8-313E4D3C8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59771C7-E400-4BEB-B1BE-124EE1CA9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A4AE106-2ACB-4E7D-ADE7-ED1554B46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01C7BBD-74FC-49E9-86BF-498234870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512BE2D-0D55-466B-B8DA-2F00CA161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EA6483F-F853-439E-942A-94848ABA2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40F0054-887A-4E5A-B16F-CA5D2526C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1866565-AA81-4C56-BF99-CE9DF293E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7A76F80-05ED-40C1-893A-45F0C7505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D740532-E099-49D5-92AA-C0E94EFFC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E29610A-72B7-475E-AED1-A67B966CC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4E814EA-CC58-4A7C-86C5-B0ED5F348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E177CB2-1405-4540-AA32-70BAA4F3C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C484310-70A5-4E9D-88E4-264603F88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CCFA389-97A2-4B54-85D9-C03F82992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1F74F3D-0440-463B-8889-9FC628DF7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D96DFF5-D26D-4AE3-8604-4CF73F706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F5B4448-D85F-4ED3-A485-47DFED49A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051</c:v>
                </c:pt>
                <c:pt idx="1">
                  <c:v>0.4837</c:v>
                </c:pt>
                <c:pt idx="2">
                  <c:v>0.4884</c:v>
                </c:pt>
                <c:pt idx="3">
                  <c:v>0.4473</c:v>
                </c:pt>
                <c:pt idx="4">
                  <c:v>0.3987</c:v>
                </c:pt>
                <c:pt idx="5">
                  <c:v>0.5474</c:v>
                </c:pt>
                <c:pt idx="6">
                  <c:v>0.4477</c:v>
                </c:pt>
                <c:pt idx="7">
                  <c:v>0.299</c:v>
                </c:pt>
                <c:pt idx="8">
                  <c:v>0.4032</c:v>
                </c:pt>
                <c:pt idx="9">
                  <c:v>0.4029</c:v>
                </c:pt>
                <c:pt idx="10">
                  <c:v>0.43</c:v>
                </c:pt>
              </c:numCache>
            </c:numRef>
          </c:xVal>
          <c:yVal>
            <c:numRef>
              <c:f>Sheet1!$B$2:$B$12</c:f>
              <c:numCache>
                <c:formatCode>General</c:formatCode>
                <c:ptCount val="11"/>
                <c:pt idx="0">
                  <c:v>0.7386</c:v>
                </c:pt>
                <c:pt idx="1">
                  <c:v>0.4911</c:v>
                </c:pt>
                <c:pt idx="2">
                  <c:v>0.4198</c:v>
                </c:pt>
                <c:pt idx="3">
                  <c:v>0.4934</c:v>
                </c:pt>
                <c:pt idx="4">
                  <c:v>0.6837</c:v>
                </c:pt>
                <c:pt idx="5">
                  <c:v>0.4797</c:v>
                </c:pt>
                <c:pt idx="6">
                  <c:v>0.5165</c:v>
                </c:pt>
                <c:pt idx="7">
                  <c:v>0.0105</c:v>
                </c:pt>
                <c:pt idx="8">
                  <c:v>-0.0026</c:v>
                </c:pt>
                <c:pt idx="9">
                  <c:v>0.7091</c:v>
                </c:pt>
                <c:pt idx="10">
                  <c:v>0.7317</c:v>
                </c:pt>
              </c:numCache>
            </c:numRef>
          </c:yVal>
          <c:bubbleSize>
            <c:numRef>
              <c:f>Sheet1!$C$2:$C$12</c:f>
              <c:numCache>
                <c:formatCode>General</c:formatCode>
                <c:ptCount val="11"/>
                <c:pt idx="0">
                  <c:v>779.0</c:v>
                </c:pt>
                <c:pt idx="1">
                  <c:v>88856.37563451777</c:v>
                </c:pt>
                <c:pt idx="2">
                  <c:v>31615.113182423436</c:v>
                </c:pt>
                <c:pt idx="3">
                  <c:v>34693.635394456294</c:v>
                </c:pt>
                <c:pt idx="4">
                  <c:v>10233.439767779391</c:v>
                </c:pt>
                <c:pt idx="5">
                  <c:v>37190.41710114703</c:v>
                </c:pt>
                <c:pt idx="6">
                  <c:v>39700.24149286498</c:v>
                </c:pt>
                <c:pt idx="7">
                  <c:v>17923.486707566462</c:v>
                </c:pt>
                <c:pt idx="8">
                  <c:v>38983.218623481785</c:v>
                </c:pt>
                <c:pt idx="9">
                  <c:v>38536.181506849316</c:v>
                </c:pt>
                <c:pt idx="10">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BE6EF42-86BA-480A-B09A-896A87DC0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4023195-5627-47C6-A834-558D5CA0F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019D081-9C03-4700-828E-498092E88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64086F4-2ACE-4F31-A6DA-F79F66591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323D01A-2175-4498-95D7-827E59042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28BD058-72B2-41F4-8852-ED7C9E4D0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105ABD5-77C8-4385-B90E-9954D02A2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51DF317-4195-434C-AA00-019AC2D0D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D157B72-6BEB-48F0-83B8-52047315B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234FFB5-9E79-44A6-9131-C7C7E58F4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C490AAE-8976-4711-9DE5-853074BFD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096D68C-0B49-4561-B3E3-C5A28EE99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2E4678A-91DD-43CD-9D87-4B4195EDF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2CB9510-2E90-4075-BFDC-464E4455A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9AB986C-F8FC-416B-973A-25C748BB2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8F34B41-E1A5-4A3F-8172-57FF9DD66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C3D6325-2F6B-4AC3-9DE1-05036142B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11EB9FF-76EC-4FE4-A56C-4D7A21184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7AB4910-6571-439B-A16F-C5CA616B1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C76929F-7C09-4498-8AAC-B7E8D5230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0BBBC6A-B791-4265-97EC-ED1848C85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C7C52BF-B79D-4BC0-8BF0-261231DAD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FD10E4F-A096-4F94-A2A5-2D2E8117A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B32937F-6B62-4A19-A7ED-D25712BEE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A337B48-02DE-43B0-8224-6B0EF98FC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F0140F9-4496-4376-AA1C-5828AA548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51062FB-646F-43AF-A243-F9F18905E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EF0A1D8-5C3E-4326-A75C-183D3668A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59E691D-C83F-4BB5-9844-0602CBF77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49EC906-CD53-46EE-93C1-FEAC3AA08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00F12FD-ADEC-4E02-8DE7-3BBBA6856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60B50D9-6BC5-4A0B-A557-6A31179C9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DAD6BD2-DC03-434F-8BA7-3F829FDF1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3DE6D2D-C9F3-47A4-BA19-FCF40857F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E166695-3C3F-4806-AB98-79F6331A8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CCCB5C8-51BB-48D9-8B94-DB48B1A51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FBA3FEE-9415-40BC-BF81-891F04CED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6AA63DB-4AA1-4C60-B149-B19F0A49C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609B375-0E2C-4995-AFFF-7029465E4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5FF4CFB-B609-49A6-8A4D-F02F5CEAA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DDCA9DB-2283-498B-98D6-A40D93067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02FB3AA-176A-4292-81B5-9BEF4A65D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A56F2D2-3438-459A-99B1-6311EC7EB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A4979E9-80B9-4223-B54A-A670AD7AF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FB681A7-0CC1-46E1-9707-3F22B8415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11B14B9-5334-4F33-A4F3-1C15C3762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A100DB8-F987-4737-935B-8C7692713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868502C-6879-45CE-9336-3C35E80E5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3DA46D8-E096-408C-A8CA-FCDBD519F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37C8888-CA0D-4C82-B505-A77635381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FFAD21A-2E02-456A-9396-D2178D7E8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6A79B16-8C48-4C98-ABDA-99D756657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ADB4EA2-68CA-480A-9089-27D00582D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B819BA4-BF98-4003-9258-6DC4FBD8E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389FC34-C5DA-43B0-8E9D-4156636ED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8A1B9F0-1BE0-4535-854F-2676E846F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4156A9E-1A8A-49A6-8908-48D2252CF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585</c:v>
                </c:pt>
                <c:pt idx="1">
                  <c:v>0.3458</c:v>
                </c:pt>
                <c:pt idx="2">
                  <c:v>-0.2485</c:v>
                </c:pt>
                <c:pt idx="3">
                  <c:v>0.3705</c:v>
                </c:pt>
                <c:pt idx="4">
                  <c:v>0.3215</c:v>
                </c:pt>
                <c:pt idx="5">
                  <c:v>0.2958</c:v>
                </c:pt>
                <c:pt idx="6">
                  <c:v>0.3532</c:v>
                </c:pt>
                <c:pt idx="7">
                  <c:v>-0.9105</c:v>
                </c:pt>
                <c:pt idx="8">
                  <c:v>0.3205</c:v>
                </c:pt>
                <c:pt idx="9">
                  <c:v>0.3506</c:v>
                </c:pt>
                <c:pt idx="10">
                  <c:v>0.3919</c:v>
                </c:pt>
              </c:numCache>
            </c:numRef>
          </c:xVal>
          <c:yVal>
            <c:numRef>
              <c:f>Sheet1!$B$2:$B$12</c:f>
              <c:numCache>
                <c:formatCode>General</c:formatCode>
                <c:ptCount val="11"/>
                <c:pt idx="0">
                  <c:v>0.5245</c:v>
                </c:pt>
                <c:pt idx="1">
                  <c:v>0.4895</c:v>
                </c:pt>
                <c:pt idx="2">
                  <c:v>0.6969</c:v>
                </c:pt>
                <c:pt idx="3">
                  <c:v>0.622</c:v>
                </c:pt>
                <c:pt idx="4">
                  <c:v>0.6295</c:v>
                </c:pt>
                <c:pt idx="5">
                  <c:v>0.6518</c:v>
                </c:pt>
                <c:pt idx="6">
                  <c:v>0.7677</c:v>
                </c:pt>
                <c:pt idx="7">
                  <c:v>0.7947</c:v>
                </c:pt>
                <c:pt idx="8">
                  <c:v>0.6902</c:v>
                </c:pt>
                <c:pt idx="9">
                  <c:v>0.6351</c:v>
                </c:pt>
                <c:pt idx="10">
                  <c:v>0.5307</c:v>
                </c:pt>
              </c:numCache>
            </c:numRef>
          </c:yVal>
          <c:bubbleSize>
            <c:numRef>
              <c:f>Sheet1!$C$2:$C$12</c:f>
              <c:numCache>
                <c:formatCode>General</c:formatCode>
                <c:ptCount val="11"/>
                <c:pt idx="0">
                  <c:v>4859.933333333333</c:v>
                </c:pt>
                <c:pt idx="1">
                  <c:v>743.5416666666666</c:v>
                </c:pt>
                <c:pt idx="2">
                  <c:v>914.0</c:v>
                </c:pt>
                <c:pt idx="3">
                  <c:v>3557.604938271605</c:v>
                </c:pt>
                <c:pt idx="4">
                  <c:v>609.5901639344262</c:v>
                </c:pt>
                <c:pt idx="5">
                  <c:v>5031.307692307692</c:v>
                </c:pt>
                <c:pt idx="6">
                  <c:v>4400.727272727273</c:v>
                </c:pt>
                <c:pt idx="7">
                  <c:v>839.0</c:v>
                </c:pt>
                <c:pt idx="8">
                  <c:v>7307.553571428571</c:v>
                </c:pt>
                <c:pt idx="9">
                  <c:v>536.4366197183099</c:v>
                </c:pt>
                <c:pt idx="1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EC94144-335C-4876-85FA-A07D62A2D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71C474F-4671-40B3-9D32-C9BD01D7A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4B9D6BB-C829-45CE-8C95-A06129362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5B31DC7-8554-4FF9-96B4-99587D5F9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3CFAD47-0AAE-4011-8442-3038D227F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96BCFA7-97E7-44A5-9929-D583700C7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5171A23-BC8F-4402-ADCE-CCBF00354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7D6CBF7-C5F0-443E-8731-F6B98A14A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67</c:v>
                </c:pt>
                <c:pt idx="1">
                  <c:v>1.1921</c:v>
                </c:pt>
                <c:pt idx="2">
                  <c:v>1.199</c:v>
                </c:pt>
              </c:numCache>
            </c:numRef>
          </c:xVal>
          <c:yVal>
            <c:numRef>
              <c:f>Sheet1!$B$2:$B$4</c:f>
              <c:numCache>
                <c:formatCode>General</c:formatCode>
                <c:ptCount val="3"/>
                <c:pt idx="0">
                  <c:v>0.7201</c:v>
                </c:pt>
                <c:pt idx="1">
                  <c:v>0.7195</c:v>
                </c:pt>
                <c:pt idx="2">
                  <c:v>0.7206</c:v>
                </c:pt>
              </c:numCache>
            </c:numRef>
          </c:yVal>
          <c:bubbleSize>
            <c:numRef>
              <c:f>Sheet1!$C$2:$C$4</c:f>
              <c:numCache>
                <c:formatCode>General</c:formatCode>
                <c:ptCount val="3"/>
                <c:pt idx="0">
                  <c:v>3804955.4074999993</c:v>
                </c:pt>
                <c:pt idx="1">
                  <c:v>277855.0290999999</c:v>
                </c:pt>
                <c:pt idx="2">
                  <c:v>297456.8079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4388"/>
          <c:min val="0.9536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0958941743835"/>
        <c:crossBetween val="midCat"/>
      </c:valAx>
      <c:valAx>
        <c:axId val="1011451359"/>
        <c:scaling>
          <c:orientation val="minMax"/>
          <c:max val="1.2247199999999998"/>
          <c:min val="0.33560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64395836534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C6B0CB3-72FD-4A94-B4E2-322FC8EB4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5F5AE18-86B5-4806-9578-4A09E8FBE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A6FC43A-C26F-4CBC-AB5C-2B15C10C5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ABAB47E-B86E-4C37-82F1-57154F53B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5704731-BD2E-4472-A10A-E5453CE63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2AB674A-9F03-43DC-8B56-353175B3E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F436788-6772-4810-AEDE-4D24FA1D6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6731575-4DAF-4BC0-80B1-2520F1761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A061C64-9721-4D94-B489-3B8C2B456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BBBC9A5-8CB3-4D0E-B270-36C1DC593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AE53B9E-0B03-445D-91BD-B5063907D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1343E32-3989-4DC7-8B1E-48CE8FD6F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AED87E4-B9C7-4227-95B8-85B3C5C49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F7D893C-CE6A-4923-BAEE-7D8D270A5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4593043-8A1F-4727-B6D6-F5093889B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C6C88B5-1A1B-431F-A13F-29DB4B7DD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33DBC6D-A880-4C9C-91BF-E408E2534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36C5D00-60DC-4B89-BAC5-3E8660A28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0FEBDAF-8E5B-42F7-98E1-3BBAF66BD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8D2DEA1-9CE6-47D8-BD29-3271D6C89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4689AD3-2F99-4312-A4BE-D1643D2F5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1E73236-FD31-4614-BA88-079F2E1F4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FE9B3DB-83A4-47B8-B545-25DEFEAD7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ED0618A-4752-4C6F-B193-7551A66E8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DFC0B08-6FB2-4E01-947C-6F488B2C1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D8F2B3D-90A1-4325-8998-387793045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171BE8A-2B00-463D-9A12-E9B22D987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D40819A-EF7A-4429-9547-F9B248E6F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E46627B-5599-4431-AE6E-61C750E55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7F28525-9430-477A-A3E6-CDFC6184A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B80D6C2-156C-4617-933F-E42D0BE69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F72F900-D7F9-4027-A57B-6A2FB6EFC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2F9F91E-7847-45E8-83DF-41C36239F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5A7BC9C-237C-4ECF-A9B7-55F100C76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97F9D66-78F6-4200-B84C-A05B70326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CCB197E-1778-45E3-8DB5-69B66F7E0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0789650-1F86-4131-8C74-0D153838D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18F571E-E144-46E1-A213-CBE377090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659AF29-F7BF-45DE-8596-E66FB74BC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31ED08F-3980-4813-ACB5-259AF863B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BB7AA0D-2DC4-4B13-929D-737F11BBB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C32B65D-5B76-4469-9779-71A8F9F6D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B51CB9C-393A-467D-8F9D-721CC63B4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15ADDCC-39F6-49BB-AE53-95FA67812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FF448EA-AA04-4543-9245-DABC4B916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16FB1ED-8C02-47B9-A9CE-3DA8EDEAB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2F9C831-776C-4339-985C-6AE9C70B9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0D38CD3-07EC-4B66-B9EF-54EB45F1C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6BEE471-DA5A-4C2D-9A5F-2EE21F8D0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CE58910-441C-4BF1-98FD-0C90558F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B1487AB-C607-4791-B089-DAA76E778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E48FB63-A6D2-4614-8BB6-20F511B20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3C3D9D9-F258-4E9F-B805-F0F5D0087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514A966-B232-4B9A-A1F4-09BDA9EDB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435F131-D2FF-466E-9949-05D800FCF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F10E7E6-BB97-4ACD-96D6-61B37991E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12A14F5-91F1-40E6-AC2A-084EA7773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44</c:v>
                </c:pt>
                <c:pt idx="1">
                  <c:v>0.4888</c:v>
                </c:pt>
                <c:pt idx="2">
                  <c:v>0.448</c:v>
                </c:pt>
                <c:pt idx="3">
                  <c:v>0.3989</c:v>
                </c:pt>
                <c:pt idx="4">
                  <c:v>0.5479</c:v>
                </c:pt>
                <c:pt idx="5">
                  <c:v>0.4473</c:v>
                </c:pt>
                <c:pt idx="6">
                  <c:v>0.3031</c:v>
                </c:pt>
                <c:pt idx="7">
                  <c:v>0.4032</c:v>
                </c:pt>
                <c:pt idx="8">
                  <c:v>0.3583</c:v>
                </c:pt>
                <c:pt idx="9">
                  <c:v>0.4303</c:v>
                </c:pt>
              </c:numCache>
            </c:numRef>
          </c:xVal>
          <c:yVal>
            <c:numRef>
              <c:f>Sheet1!$B$2:$B$11</c:f>
              <c:numCache>
                <c:formatCode>General</c:formatCode>
                <c:ptCount val="10"/>
                <c:pt idx="0">
                  <c:v>0.4909</c:v>
                </c:pt>
                <c:pt idx="1">
                  <c:v>0.4199</c:v>
                </c:pt>
                <c:pt idx="2">
                  <c:v>0.4936</c:v>
                </c:pt>
                <c:pt idx="3">
                  <c:v>0.6837</c:v>
                </c:pt>
                <c:pt idx="4">
                  <c:v>0.4789</c:v>
                </c:pt>
                <c:pt idx="5">
                  <c:v>0.5158</c:v>
                </c:pt>
                <c:pt idx="6">
                  <c:v>0.012</c:v>
                </c:pt>
                <c:pt idx="7">
                  <c:v>-0.0022</c:v>
                </c:pt>
                <c:pt idx="8">
                  <c:v>0.7091</c:v>
                </c:pt>
                <c:pt idx="9">
                  <c:v>0.7318</c:v>
                </c:pt>
              </c:numCache>
            </c:numRef>
          </c:yVal>
          <c:bubbleSize>
            <c:numRef>
              <c:f>Sheet1!$C$2:$C$11</c:f>
              <c:numCache>
                <c:formatCode>General</c:formatCode>
                <c:ptCount val="10"/>
                <c:pt idx="0">
                  <c:v>5807.010989010989</c:v>
                </c:pt>
                <c:pt idx="1">
                  <c:v>3302.698113207547</c:v>
                </c:pt>
                <c:pt idx="2">
                  <c:v>2923.9189189189187</c:v>
                </c:pt>
                <c:pt idx="3">
                  <c:v>1148.3170731707316</c:v>
                </c:pt>
                <c:pt idx="4">
                  <c:v>2862.6341463414633</c:v>
                </c:pt>
                <c:pt idx="5">
                  <c:v>3479.353846153846</c:v>
                </c:pt>
                <c:pt idx="6">
                  <c:v>1727.178947368421</c:v>
                </c:pt>
                <c:pt idx="7">
                  <c:v>3081.305263157895</c:v>
                </c:pt>
                <c:pt idx="8">
                  <c:v>3361.8</c:v>
                </c:pt>
                <c:pt idx="9">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31B7538-965D-4FE8-8DB4-1D33A29F6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FF9F7CC-2B4B-4647-B2F9-25DA3B5BD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DE1A5B-B7A8-4750-8384-B02AED150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44B459-D4A9-4441-86D1-F7D5B98A1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F17EEE5-A9D7-4557-A9E9-3EC4427CB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A820DC8-EF92-40DF-A327-DC0462EC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DD4D42C-D914-4E54-A5B1-1DDE54F82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081EAD4-F985-427B-BD15-1B92542BF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76659ED-909F-46EE-B67E-43AA90AEB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CDDC483-053F-40CC-A566-CBAD9D563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593ECA2-6242-41FA-BF92-EEC285C8D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F79D433-908E-4E4F-BBEE-C63CDB875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C9381A7-F025-4E21-BBD4-44EBED09E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879C3E6-DD80-49E4-B2B3-85DEA9DAD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E5837B4-043A-4559-913E-37B8E52C8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1F1F803-B0C2-4663-8955-9046046D3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89A563C-4A44-4A57-8D84-F831A5F2A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AFF8983-8F03-42BD-9859-1F63D52D3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AD13173-1489-4201-8F83-85AA85EF9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85FE5DB-6240-46A8-BBFC-FBFBEA7C6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C325693-4D0C-40DE-9DAE-69D924907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73B0034-5FB8-4EB2-AE2D-7B42F2D34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76339B3-6A6F-4E98-B560-2985CFE48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29279D8-DFD1-4934-8492-E0A3D6003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14783FA-6353-4CB3-99E7-240818CFB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98F6ADE-932B-4E48-9EC1-95EE4E84C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4E2A0F3-5747-49EF-883D-C4FB6D3DD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9783710-CEB3-4EB6-8EE2-9E0E96BAE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61B2F4D-97E7-4707-B8A8-7646C14CD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7159FB7-C95D-41EB-AD24-A12E403D4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8F3E3A5-E06C-421D-9B3B-ADDF23DE3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90FFE41-C9E2-4AB8-A8D5-7D1322340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9B3A3F0-E68A-426C-B068-84C5743C8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D6AA989-AB9F-4F53-8D2E-07FA28D49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32A535E-44B7-4697-85E6-E7F341E30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F6B0665-3679-47A6-AD4C-08B0780F6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1098507-EFE3-41AB-9772-116B7D714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A4D68E6-BD9B-438F-B419-1DADB9CEA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CD91DF9-2B4F-43AE-BA5D-2C3263205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D60B716-D116-472C-AC9F-8D47FA9C5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6B99DF3-DE9D-4F81-B236-0AD9EF6CF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4D96C52-C95C-4AC4-8CD4-DA5FE89D6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4342547-8682-49FE-BEF3-80B858170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A96017A-87B8-4ACB-9217-C5B8A85DD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36F7A86-A16A-4071-B032-B27F94399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8E30C81-BE0A-494B-8A8A-8DED93223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3A364F2-36CD-4DF5-91C8-2A39F738F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D44C6B3-2C3A-4DA8-A567-D3DFD259C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E4B7A08-E694-49B6-8AAC-29269F408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F99A3EB-F4BC-4058-B64D-1C6C75E23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588C8B2-469C-493B-901E-009545732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5A0DE6C-296C-478F-909F-F3DD87A11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C569FE6-6253-466C-AF7A-32F1ED4B9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5EF3845-88C3-414B-A2F6-45B499873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CEAE423-67CD-4A5F-84D6-950DEB910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87FF576-465C-4D6A-AC56-97E7EE294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BBB1F7C-957E-4166-AD9B-8B07C5389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6583</c:v>
                </c:pt>
                <c:pt idx="1">
                  <c:v>0.2228</c:v>
                </c:pt>
                <c:pt idx="2">
                  <c:v>-1.683</c:v>
                </c:pt>
                <c:pt idx="3">
                  <c:v>0.3666</c:v>
                </c:pt>
                <c:pt idx="4">
                  <c:v>0.2205</c:v>
                </c:pt>
                <c:pt idx="5">
                  <c:v>0.3679</c:v>
                </c:pt>
                <c:pt idx="6">
                  <c:v>0.3464</c:v>
                </c:pt>
                <c:pt idx="7">
                  <c:v>0.2843</c:v>
                </c:pt>
                <c:pt idx="8">
                  <c:v>-0.6417</c:v>
                </c:pt>
                <c:pt idx="9">
                  <c:v>0.3211</c:v>
                </c:pt>
                <c:pt idx="10">
                  <c:v>0.3918</c:v>
                </c:pt>
              </c:numCache>
            </c:numRef>
          </c:xVal>
          <c:yVal>
            <c:numRef>
              <c:f>Sheet1!$B$2:$B$12</c:f>
              <c:numCache>
                <c:formatCode>General</c:formatCode>
                <c:ptCount val="11"/>
                <c:pt idx="0">
                  <c:v>0.6078</c:v>
                </c:pt>
                <c:pt idx="1">
                  <c:v>0.2544</c:v>
                </c:pt>
                <c:pt idx="2">
                  <c:v>0.797</c:v>
                </c:pt>
                <c:pt idx="3">
                  <c:v>0.3715</c:v>
                </c:pt>
                <c:pt idx="4">
                  <c:v>0.6948</c:v>
                </c:pt>
                <c:pt idx="5">
                  <c:v>0.6037</c:v>
                </c:pt>
                <c:pt idx="6">
                  <c:v>0.7142</c:v>
                </c:pt>
                <c:pt idx="7">
                  <c:v>0.7271</c:v>
                </c:pt>
                <c:pt idx="8">
                  <c:v>0.7947</c:v>
                </c:pt>
                <c:pt idx="9">
                  <c:v>0.6903</c:v>
                </c:pt>
                <c:pt idx="10">
                  <c:v>0.5305</c:v>
                </c:pt>
              </c:numCache>
            </c:numRef>
          </c:yVal>
          <c:bubbleSize>
            <c:numRef>
              <c:f>Sheet1!$C$2:$C$12</c:f>
              <c:numCache>
                <c:formatCode>General</c:formatCode>
                <c:ptCount val="11"/>
                <c:pt idx="0">
                  <c:v>1414.0</c:v>
                </c:pt>
                <c:pt idx="1">
                  <c:v>14923.912087912087</c:v>
                </c:pt>
                <c:pt idx="2">
                  <c:v>789.0</c:v>
                </c:pt>
                <c:pt idx="3">
                  <c:v>6680.846153846154</c:v>
                </c:pt>
                <c:pt idx="4">
                  <c:v>66122.91836734694</c:v>
                </c:pt>
                <c:pt idx="5">
                  <c:v>19149.166666666668</c:v>
                </c:pt>
                <c:pt idx="6">
                  <c:v>5990.285714285714</c:v>
                </c:pt>
                <c:pt idx="7">
                  <c:v>19381.2</c:v>
                </c:pt>
                <c:pt idx="8">
                  <c:v>4359.0</c:v>
                </c:pt>
                <c:pt idx="9">
                  <c:v>57541.3875</c:v>
                </c:pt>
                <c:pt idx="10">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9CED124-8637-4E78-B17B-B1200682E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B146089-2E86-4CDC-8422-0952F7871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E2E1FB6-A36F-4F12-B7BF-9976AFB9B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BFD7CEF-2D63-471F-B7EB-EFEDEAB5F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25FF510-4517-407B-9D3E-286F2250D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C30413B-630A-4D97-9077-841A30688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AD35E61-6929-4F99-84E0-F814C1D37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700C154-67D7-4364-8A7E-FD1C62B97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DEED4DE-4191-485C-82D6-AA78A091D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F4107D6-29CC-433A-BBF8-F17110C78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4EE7A91-1186-40A7-A60C-8C4F00408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1E4048B-3F92-47FD-8109-71E6E8F99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72D7CD5-452D-4F58-B296-D9B65F59B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AA43EC3-E753-4DFB-BEA9-9ECEE5A5B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2AA3002-4B6D-4302-9CD0-6EDA7B925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B0EE969-55B0-4DCE-9D3A-5C0D03B7D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8E18CA6-9E98-44E7-9B50-4B0A86166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E010644-61DC-47D8-858B-0210488ED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9A78177-7E91-47D9-A259-E877BDA26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54DF1CE-A80E-4728-A531-73B75DED2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31E6BE2-98B6-43AF-98DA-30C6625DC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50812F7-E645-46B2-9648-BEDD55D53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20E000B-0DEF-4A88-ABF6-99BE38437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4BC29E4-3639-4D65-A3D5-8E0C77CB6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FB87F3C-ABFF-4918-8ECE-9547E9BCB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942CA61-F673-4918-A17B-AC33D96FE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BB3F6E8-E314-47A3-938D-8403D0BEF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73A3775-F575-48A5-896F-ADCB082BF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A029857-35E6-4C4C-B9A7-DA260CEB1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5D43844-A038-4A0F-9DFB-01FFAD9A0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5FE5297-F815-4FAA-ABCE-B8607F335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5EA3414-2871-46AF-B7A7-05C9B8517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BF55E6D-6476-4546-86D5-023237C24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FFD277A-5C20-4C92-B209-14D940527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4909743-7DC4-43CE-930E-653607B4C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617EECA-64EE-41AE-8895-0410E0FE1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B87E009-553D-429D-B589-1278209DD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1FD25E7-9ED4-4182-BD6A-948111516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5BEABE9-DFB9-40DC-9C5B-A1B3C70B3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5AFECBD-8948-4B84-8953-F3E3E2601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9039714-5D42-4D34-927C-7B1FCBF7B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B27D0D2-FA03-498C-AADB-5F2553877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5A7EC28-0F73-439B-8708-052C87C0C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1CDDB4A-92D9-48C4-A52B-EC5BF6325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3851D41-BF85-4124-B0E4-1054DD932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8CD4C2A-42FA-49B6-8CE6-136AA6BCA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9A58D9D-2E31-4AFD-BE9A-ADFCD9E63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F38221A-1899-4DE1-97B9-4976002F5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E76FCF5-CB14-4797-B9EE-9A3B463EF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FB13A42-EA05-4BBB-944C-2A9683E5E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862EBA2-6EA5-4BCB-A5C4-66691B280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9B65337-D197-447F-B78D-796392C7E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5EF4A79-42DF-44A1-8D96-23A37B64B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E1E051C-F078-487F-A2C1-BA2F401A4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0AA9495-33C0-4103-A444-C9C9E84EC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74E8533-FEFF-47F6-9BAC-0440F0079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2D0607E-730D-4D99-9811-A9C4CADA7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4</c:v>
                </c:pt>
                <c:pt idx="1">
                  <c:v>0.3987</c:v>
                </c:pt>
                <c:pt idx="2">
                  <c:v>0.4065</c:v>
                </c:pt>
                <c:pt idx="3">
                  <c:v>0.4301</c:v>
                </c:pt>
              </c:numCache>
            </c:numRef>
          </c:xVal>
          <c:yVal>
            <c:numRef>
              <c:f>Sheet1!$B$2:$B$5</c:f>
              <c:numCache>
                <c:formatCode>General</c:formatCode>
                <c:ptCount val="4"/>
                <c:pt idx="0">
                  <c:v>0.4198</c:v>
                </c:pt>
                <c:pt idx="1">
                  <c:v>0.6837</c:v>
                </c:pt>
                <c:pt idx="2">
                  <c:v>0.7091</c:v>
                </c:pt>
                <c:pt idx="3">
                  <c:v>0.7317</c:v>
                </c:pt>
              </c:numCache>
            </c:numRef>
          </c:yVal>
          <c:bubbleSize>
            <c:numRef>
              <c:f>Sheet1!$C$2:$C$5</c:f>
              <c:numCache>
                <c:formatCode>General</c:formatCode>
                <c:ptCount val="4"/>
                <c:pt idx="0">
                  <c:v>26568.493506493505</c:v>
                </c:pt>
                <c:pt idx="1">
                  <c:v>8564.56338028169</c:v>
                </c:pt>
                <c:pt idx="2">
                  <c:v>32905.13333333333</c:v>
                </c:pt>
                <c:pt idx="3">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F03D3A6-BB8B-4F26-ABE8-7C0A730CE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C3A7CA1-EB07-4E0A-9A65-6F5F3AD21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7EF1168-A44E-40B0-B1A7-791C9FD06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12A5DE4-56AA-46CA-ADF3-EFFA65311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1287EDF-C168-415A-8A8F-59F844D89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0AD9436-A94C-48DA-A7ED-E798E37FD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BE5845E-4F80-4740-8B9E-3A6B29964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C89981C-6F1E-4696-9256-B120121E1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1CB22F4-822B-4D4F-8482-C0F1DE06F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05FB11D-0F76-40D1-9C5B-0A5475078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E5A779C-8123-4CF0-AA1E-94DBB3DB1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08539A4-5D0A-4BE0-861A-57232EAE1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1EE990E-8039-4DC6-A459-824A52880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53BFC93-F6BE-4A04-939C-6D5D6B585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B53ABEA-B119-497A-9BBB-E45EF99D9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A0CF51A-3A50-4026-B956-47C943EE8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3F7079B-F84C-45D5-AAE5-A9B509119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CB0C2F7-E4FF-4A60-92A1-65406E35C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F148431-DFE5-434E-AC6D-49BB32DD3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88CF892-2D8E-4BAB-ABC8-7D1C0B1C2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1D8E1FF-8E1B-458B-9EE6-138DE1414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0115263-5354-4328-AA8A-B97435596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71C500B-81C2-4073-913B-5BC09EACC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6B2527B-1B04-4166-9818-724508650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4BF018A-D34A-4A77-9D2A-E2DDC23D5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2F471C2-7F87-4F68-AA11-083F1D410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3D86B23-5C24-4FC7-9F5B-176E71216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693E788-5E83-40ED-AFC3-07E89602F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0686695-9229-499B-9AA1-A53CCEF46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279AA00-69A5-426D-911D-D68B8E968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1A68057-B481-4926-9B61-F47407DD2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106DDBE-DA3E-4598-9B12-D5143A302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9906D2A-C9F1-485A-B5A1-237CCC6D5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E30C005-22A2-4359-903A-46A2B89B9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B15E283-A0D3-4383-BE42-DFCAC8B59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A0F91AD-C066-4616-967E-55C403F5E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1A05AA7-03B5-4728-9AD4-1CD811EB3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5122214-8DD0-4B0F-9839-D1BBFAC90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9A764A9-E7C9-455C-9A02-E69AEAEE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640F863-5CBC-47D8-9466-9BE146522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95D4DA1-1BA2-43A5-AF9A-16188597F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899BCC2-5782-40CB-BC5C-6E034D2D5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78E47EC-3767-4582-B917-69EF30D23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478A32C-EB18-45F9-B999-F596DD630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0C1F212-8707-41B4-BF65-C2E0EFF92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04EBEB1-05DC-4C4A-931C-7861E0EBB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ACDDAA8-0FFC-4FE4-8576-5C5E2F4EB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291804E-67C1-4474-AB77-A9D55A2E2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7B03936-4A51-4CED-B58F-6C823016B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A2E6DBF-A795-4705-B836-1FE0992AF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CF33D0A-F78D-4A89-86FF-DC9E307E4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955329B-B21F-4B24-9287-CC852D6B2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8871F16-B5A6-45C0-BAFF-359E47F64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9BD9CA5-AA58-4CD3-9E92-734DE964A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4B9804E-682D-41F3-9993-EE09B81A8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AC62DBE-941B-4953-895D-88FC617E5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32BDABF-074D-4DB6-B952-B5B7B4CF5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2485</c:v>
                </c:pt>
                <c:pt idx="1">
                  <c:v>-0.9105</c:v>
                </c:pt>
                <c:pt idx="2">
                  <c:v>0.3205</c:v>
                </c:pt>
                <c:pt idx="3">
                  <c:v>0.3919</c:v>
                </c:pt>
              </c:numCache>
            </c:numRef>
          </c:xVal>
          <c:yVal>
            <c:numRef>
              <c:f>Sheet1!$B$2:$B$5</c:f>
              <c:numCache>
                <c:formatCode>General</c:formatCode>
                <c:ptCount val="4"/>
                <c:pt idx="0">
                  <c:v>0.6969</c:v>
                </c:pt>
                <c:pt idx="1">
                  <c:v>0.7947</c:v>
                </c:pt>
                <c:pt idx="2">
                  <c:v>0.6902</c:v>
                </c:pt>
                <c:pt idx="3">
                  <c:v>0.5307</c:v>
                </c:pt>
              </c:numCache>
            </c:numRef>
          </c:yVal>
          <c:bubbleSize>
            <c:numRef>
              <c:f>Sheet1!$C$2:$C$5</c:f>
              <c:numCache>
                <c:formatCode>General</c:formatCode>
                <c:ptCount val="4"/>
                <c:pt idx="0">
                  <c:v>914.0</c:v>
                </c:pt>
                <c:pt idx="1">
                  <c:v>839.0</c:v>
                </c:pt>
                <c:pt idx="2">
                  <c:v>7307.553571428571</c:v>
                </c:pt>
                <c:pt idx="3">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07F5F45-E05A-4E14-8465-A21B20A48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6334F9B-6012-4466-9D74-6352FCAB9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C15CF3-1A45-46A6-BD00-38B1AE374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44E5229-16A6-4697-B8AD-622AF13BC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440B361-08C1-46E3-AFA7-C073F74C7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B83C2A0-2096-4652-8AC9-9991AC46A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E19927A-A938-47F5-921B-EA06E2D4B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3FECF8F-EC1F-4EC0-AF99-7687199A8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E86643D-054A-4891-8402-43532B34F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F0A389E-BD7E-4533-8F7E-15E551A26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DBF0EB9-8EA2-43FB-A719-5925ED955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2376534-8F6E-4CB2-9E69-E35CFBDE7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04C94A4-BA46-4228-B4E3-C292DF34A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E094EDC-133D-4DF3-963B-9596AAAF7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C69FBBD-C266-478E-9FA2-3A5333951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C58E6B0-B192-425E-82D1-08E416A96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9A118D7-A63C-4BF8-BF07-92E545F28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13BC200-EDB3-4064-96D5-8CBC882E9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6730DE8-8F4F-4574-ABA0-44875A10A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C7262C3-A008-4EA5-919B-A1473AD66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5C92CF1-61F9-45D0-8A33-19DD08B2C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B13D251-A056-4009-A5B2-CCDE0A9C9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3D73919-20C6-48A0-BE01-E7B75B2CB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0ED3A65-9919-4ADE-8870-85728004C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2DE4429-EAB6-4106-AC89-AF5367EA4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25EB8F0-B915-4C89-856D-17F1AE48A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674679F-65CC-4C7D-A331-A16F75B14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BA7FA9C-6965-45C0-8E26-F1C29E8E3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6F8C0B3-856E-4F99-8CC4-221BD977F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DF07512-D47C-4D03-94A5-F0EF95F9F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81A7763-9875-453A-A031-BE4D7798C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14FD93D-DDE0-4284-8547-EAC0E08BE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46570EC-596B-4152-A333-4C614C323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DF7A229-2F9F-42C0-BBAC-E184F3B24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980F035-C2E4-41A6-8882-8F3B6D8FB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0AEE8D8-86AC-45D1-8742-76F83C29C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AB72000-24AB-49BE-9A30-C8E37F68E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1885417-C771-45B6-BEE5-CE4FC4D96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A8947B8-AD52-4325-87B9-EBB4E7936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F492F81-2165-4F5B-A690-E1FFDC4D5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77C0AA1-1996-4479-9009-F09566C8E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B2D72C3-CCAF-47E6-A175-B4599ACE8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65B707A-1981-4BBA-8EA7-5BBC017C7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99E67E7-B887-4240-8D9C-4F628870A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8E64045-3FCF-4E28-B48C-C1FB83CC9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3D5984C-63B9-406D-8366-0D9A323C2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7B70743-037B-4DA8-8205-873540F21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6F6799B-AC08-431A-97ED-1A920571A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D7362FA-A9FE-45CB-A65D-7A9E61276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A411620-702D-413F-993F-14FA448A9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DDE14E2-876A-4BC6-9189-6FD1D1859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A29BB44-3475-4B61-8399-02D2CF015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611FF90-DC86-4D38-9368-147033976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3AA6D29-0412-442B-8339-C9BB81DBE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1FA6134-FF54-4B9B-AE5F-6294428D0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D5AC939-DB4F-41EF-9EBF-D6B31F26C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297A231-2F87-46B1-B87D-6828A1043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8</c:v>
                </c:pt>
                <c:pt idx="1">
                  <c:v>0.3989</c:v>
                </c:pt>
                <c:pt idx="2">
                  <c:v>0.3583</c:v>
                </c:pt>
                <c:pt idx="3">
                  <c:v>0.4303</c:v>
                </c:pt>
              </c:numCache>
            </c:numRef>
          </c:xVal>
          <c:yVal>
            <c:numRef>
              <c:f>Sheet1!$B$2:$B$5</c:f>
              <c:numCache>
                <c:formatCode>General</c:formatCode>
                <c:ptCount val="4"/>
                <c:pt idx="0">
                  <c:v>0.4199</c:v>
                </c:pt>
                <c:pt idx="1">
                  <c:v>0.6837</c:v>
                </c:pt>
                <c:pt idx="2">
                  <c:v>0.7091</c:v>
                </c:pt>
                <c:pt idx="3">
                  <c:v>0.7318</c:v>
                </c:pt>
              </c:numCache>
            </c:numRef>
          </c:yVal>
          <c:bubbleSize>
            <c:numRef>
              <c:f>Sheet1!$C$2:$C$5</c:f>
              <c:numCache>
                <c:formatCode>General</c:formatCode>
                <c:ptCount val="4"/>
                <c:pt idx="0">
                  <c:v>3302.698113207547</c:v>
                </c:pt>
                <c:pt idx="1">
                  <c:v>1148.3170731707316</c:v>
                </c:pt>
                <c:pt idx="2">
                  <c:v>3361.8</c:v>
                </c:pt>
                <c:pt idx="3">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ED63580-6F1B-46F1-B9E3-6317A5AD7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58EF962-FF8E-48A4-AABF-24E0C3620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CDD9AA3-3BC5-48B6-A6B6-9869C2310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F63664B-9E49-4EE0-BF8D-D50D92887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B035D23-183A-41B8-A81F-A1DB8198D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C02B2FB-5511-4285-A2B4-8B4C27DFB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56D7C12-207D-4059-9D77-3BA7111EE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BDF09BD-2239-495C-9C9C-76F563023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E37E4E8-D95E-4F97-B834-13DD097A1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F5AB0F1-36A7-415A-8242-18FA5ED3B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49E2413-6564-409C-AEF4-F5F5805E5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77A85ED-1BFC-4899-BFBB-C0A316BBD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E054B48-ACD6-426F-BD4B-68A1C6F53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3CD30AC-7D70-4002-BED3-42C616EB4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FEFBD6C-A796-4F13-A31D-236BE4EC4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22351FB-2777-4035-AC7F-9977B9BB4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6F31A17-989F-4CD8-AF55-9B9DA381A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41B463B-3F73-4294-AD17-9E8F25EE0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463D8C9-2D12-42A7-919A-1787591D3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D2FAC3E-7D5A-4A8D-AAB9-73ACA28B5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29BBADE-A81C-4542-B745-0DB3BF81F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80EB2BD-3D60-49A5-BE9E-6F16993AA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955B203-A1F7-40EB-A8C4-EA78CFAB5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96C3ADA-DE1D-41A0-A21D-EADC4F8DC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B310B70-1D7E-4EA5-A09E-50AFBAC5C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E6ED55F-64A0-48AA-9FA8-C5EEBE571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E950DE3-A3FC-42D6-84A0-F098E550F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735CB92-3390-4B09-B6C9-280D0DD61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AB68010-D223-45E4-93FA-8472E4346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C5130FB-D85D-41F3-B294-019CEF42B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02082A7-6E60-49D4-84E2-E4A047A73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C106EAF-EA5D-411B-82AB-52CEB9B2E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EF8137A-EACB-4B38-A697-36ECBE8BF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1A4AB26-409B-4EC9-BF4E-A08B4D597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585C261-E5B7-46BF-86E9-7364A104E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E509561-FB84-42F8-A2FA-68D6070F4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6C6C862-4180-4A0A-92D9-CA212922D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42CB25C-8BA4-4B19-8CEA-D15C115E8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16AD363-2BCE-4E74-A53F-2BE1CC4E1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D81A110-8A30-4579-AFE3-7330086C2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DDCCD86-CCA7-46B8-A404-F3657A78C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7B3B518-1931-4C99-9078-BD54DD27A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BC7EC0F-2655-4C45-A96C-7E7C584DE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0BA1074-4ED2-4A6A-AC5C-0CD2476AC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FA6CF74-9ADC-4EB1-96B5-E59ABF3B1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7520DB5-4ED1-4B03-8B55-E130FF77C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38D821A-CCAE-4E87-B319-8DF1A6861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41EF56F-919E-4938-A9B2-AED5A502F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A051023-17B9-4600-8C28-59840E7E4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080AD12-B504-4462-BE74-C725D1A4E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FCAE2E5-3CEC-4DAE-A378-86EB98C8A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EC847FF-9912-4E27-BFF8-061D71D8A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2327246-83AA-4DA8-A5AB-1D3E6F259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8D46010-110D-4D3C-8DD3-8943F56B7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AEC6086-029A-47E3-B180-C5A00FE9B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2EA5C06-DA96-4471-BE50-9642A4C0E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8204898-F34A-401F-8197-8BA9191E5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2917</c:v>
                </c:pt>
                <c:pt idx="1">
                  <c:v>0.3711</c:v>
                </c:pt>
                <c:pt idx="2">
                  <c:v>0.2194</c:v>
                </c:pt>
                <c:pt idx="3">
                  <c:v>0.3585</c:v>
                </c:pt>
                <c:pt idx="4">
                  <c:v>0.2027</c:v>
                </c:pt>
                <c:pt idx="5">
                  <c:v>0.3207</c:v>
                </c:pt>
                <c:pt idx="6">
                  <c:v>0.3918</c:v>
                </c:pt>
              </c:numCache>
            </c:numRef>
          </c:xVal>
          <c:yVal>
            <c:numRef>
              <c:f>Sheet1!$B$2:$B$8</c:f>
              <c:numCache>
                <c:formatCode>General</c:formatCode>
                <c:ptCount val="7"/>
                <c:pt idx="0">
                  <c:v>0.2544</c:v>
                </c:pt>
                <c:pt idx="1">
                  <c:v>0.372</c:v>
                </c:pt>
                <c:pt idx="2">
                  <c:v>0.695</c:v>
                </c:pt>
                <c:pt idx="3">
                  <c:v>0.6039</c:v>
                </c:pt>
                <c:pt idx="4">
                  <c:v>0.7269</c:v>
                </c:pt>
                <c:pt idx="5">
                  <c:v>0.6906</c:v>
                </c:pt>
                <c:pt idx="6">
                  <c:v>0.5305</c:v>
                </c:pt>
              </c:numCache>
            </c:numRef>
          </c:yVal>
          <c:bubbleSize>
            <c:numRef>
              <c:f>Sheet1!$C$2:$C$8</c:f>
              <c:numCache>
                <c:formatCode>General</c:formatCode>
                <c:ptCount val="7"/>
                <c:pt idx="0">
                  <c:v>1094.75</c:v>
                </c:pt>
                <c:pt idx="1">
                  <c:v>472.6</c:v>
                </c:pt>
                <c:pt idx="2">
                  <c:v>5275.419354838709</c:v>
                </c:pt>
                <c:pt idx="3">
                  <c:v>999.2</c:v>
                </c:pt>
                <c:pt idx="4">
                  <c:v>1055.75</c:v>
                </c:pt>
                <c:pt idx="5">
                  <c:v>4560.025316455696</c:v>
                </c:pt>
                <c:pt idx="6">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93077C0-BD27-4E01-9424-1968AE5F8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D1A528D-7BD7-4A91-B964-2AC5A6709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BFFAA8-EE5E-42E0-8B27-6FA13E530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55C9AF-1561-434A-A1CD-77783DD98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18C77D6-3FAD-4D1F-B855-F7DA0C9C3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D584FA9-64B5-4D22-ABCD-0A21D816F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A183FF5-784F-4036-9B9D-2C39EAEF0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10295E3-CDC9-49CB-B55C-78EC7D6E3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0ED84C0-8B7C-481A-90E1-27409FBD3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7E8E1D2-6203-4ECB-BF4D-7B91D004A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D5DA6BC-0C85-438F-8B49-F80026C04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DE1C6E7-2822-4BFF-BB7D-DED705DCB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094C020-B0FE-4F2C-B6F1-6FBE8CF49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357B4B2-C09E-4990-A98D-2477C9C25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BB2F60D-74D3-4845-9D33-E3AB150F9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3C59D87-9531-4315-8F1A-6F8F611EE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3C29B85-D6DE-4DDF-AA44-09F690EDD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80CC987-D27D-4B61-A76C-852F08DBE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A7BB3FF-98C4-425D-8229-77E210E0A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CAE968A-0ED4-4522-844A-0E86580EB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A173693-6DE8-4AE5-B978-C193024F6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A23BF79-6816-4513-B95B-7ABD530AD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BCC2EE1-DDC6-430F-A389-2785E1DE3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71A5B22-4D7E-4EF6-AA6E-13C90CBF2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FC0B0B1-1939-4645-A478-785748D01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7D7943A-9715-4531-81B0-F2A5ECBF9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AEDE049-443D-45C9-8B11-271628519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CCE53AA-95D5-4F00-B628-E973CAF84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35BFE57-2BC1-4258-B48B-51825A7FB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6D0EFBC-8959-47CD-AA5E-3A7A2522D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BFD01A6-F853-4427-B8EB-08682EA2F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B46DCAC-5D8F-4FA6-9706-5F6E45245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9FCDCCF-C1B1-4907-801F-0AF1F1376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548C373-BEBF-4C8B-8E90-4A361DD3A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615434-153B-41EF-BDB0-860456993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A401DB3-4614-4A96-8D1A-5E315DF2B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BAF2556-6869-43ED-ABFB-53FC4FFFA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EA0C8B4-4724-4B3D-8122-1D6F2B8F4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D5DC5B5-E499-4700-82C6-8B99BE564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B3AEA7B-748E-4EAD-9FEB-ABDDD0D5E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06A67D2-60DC-4B00-A5E9-0B836BEC0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A365A24-E6C1-4A15-BAA8-C67BB1ACE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EA6B274-4609-461B-8C0E-003A78FCF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8084AA5-4663-46A9-82B5-9503B1BD9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5B164CE-C278-4E17-B710-66C91A951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BF89A7F-A988-40F6-A6E8-5251A50BC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37C5A43-B362-4D4D-B4D2-0D09C845D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D1D8C77-6497-431D-BE16-84450330F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2CCCA36-B1C8-40EA-8D31-10F3E1745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18CF847-74B2-4583-98D2-FC1597617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05AE64F-293F-4533-9281-825367214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0E92C92-AFCF-4565-BAFC-094D98808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7E0D7E7-84D0-47B6-B418-1434A757E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BEC7347-13A5-497F-9AA9-990BD0228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9483902-808C-48B7-98BB-7B7848C3A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508C8D4-DAF0-4885-BE9E-7C484D34B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79F8261-9E5D-4F52-9CEC-70E6918A3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75</c:v>
                </c:pt>
                <c:pt idx="1">
                  <c:v>0.3974</c:v>
                </c:pt>
                <c:pt idx="2">
                  <c:v>0.396</c:v>
                </c:pt>
                <c:pt idx="3">
                  <c:v>0.4292</c:v>
                </c:pt>
              </c:numCache>
            </c:numRef>
          </c:xVal>
          <c:yVal>
            <c:numRef>
              <c:f>Sheet1!$B$2:$B$5</c:f>
              <c:numCache>
                <c:formatCode>General</c:formatCode>
                <c:ptCount val="4"/>
                <c:pt idx="0">
                  <c:v>0.4195</c:v>
                </c:pt>
                <c:pt idx="1">
                  <c:v>0.6837</c:v>
                </c:pt>
                <c:pt idx="2">
                  <c:v>0.7091</c:v>
                </c:pt>
                <c:pt idx="3">
                  <c:v>0.7317</c:v>
                </c:pt>
              </c:numCache>
            </c:numRef>
          </c:yVal>
          <c:bubbleSize>
            <c:numRef>
              <c:f>Sheet1!$C$2:$C$5</c:f>
              <c:numCache>
                <c:formatCode>General</c:formatCode>
                <c:ptCount val="4"/>
                <c:pt idx="0">
                  <c:v>2192.542857142857</c:v>
                </c:pt>
                <c:pt idx="1">
                  <c:v>745.0597014925373</c:v>
                </c:pt>
                <c:pt idx="2">
                  <c:v>2624.685185185185</c:v>
                </c:pt>
                <c:pt idx="3">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3EAA00F-E12A-4C1E-9120-D2DB262CF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863A45B-D21D-4D8B-BFD4-3A86F117F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AA1909A-9252-4A29-B4D9-CC0AFF193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E3258EB-21F4-4EAA-88FA-94CAFD6C3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7A4C6F0-3E10-4D07-A72D-C5CA5083D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CEC71C5-D1F2-472E-A512-7932C70D9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0561E93-35EF-4BEB-9C53-BB03D0B14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C037CB-6220-48AE-86CB-934B20881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6D90C72-B2A6-4578-92CD-F3702CDA7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13E65B3-1599-446F-B148-454BA450D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4C6B1CE-950F-436E-9A0A-4AA3F6391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4881E37-E0C8-46F2-AB20-78851CC03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050BF59-5CD0-4A6B-9B1A-E0BF2A284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40F61F2-B260-4F48-85D0-D89D91A2C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CB39772-30FE-46BD-A893-7AB3DB3F8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AC4D014-8BF3-4FBA-9FB7-8523800F4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1A3D495-3567-4D8E-B24F-5503F8D60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16DD339-B30D-4895-B458-C0F206980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5D8FC79-416B-4479-9CCB-A296DBF0F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3F1DA2A-B538-4B2C-8567-B40B99C56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B18D486-2852-49CA-AEFD-167CB279F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9499433-AD21-47DF-BF41-18AE5E47A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01B6C1F-B397-4547-A34A-7C6D8FF10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CD9B107-698B-423B-9067-48C99A1A6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8F45926-EBE0-4C99-957B-197FFBBF6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C379238-2B61-402E-84FC-231D3AB21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39CE7FB-11D7-4600-944C-245E9E77B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48646B5-E63B-4EF5-94DC-2CA9DEC03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FEC00DF-5A01-43D3-A810-3AA864669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EF5467A-C4AF-4FB2-9CD2-F44E62C5C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8686830-981D-4404-819D-A05EEE3F2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2BF1F32-EEE3-4E92-B8D6-E35A57CB6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65FDBDE-AFB6-4D30-8E26-4300762B8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69674AC-756C-40B5-8934-43624EC0F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D7BE1B8-9952-414A-A088-31B8A05AA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02418E4-0C8E-4960-B714-F5EA98A36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06AC0A7-641B-4A3E-93A4-3EB82E973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E5CA8BC-ADBC-45B3-A5A0-73327B35E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0F33198-35B8-41F2-9FB2-77F9C1ADF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389EE63-1C2E-427C-8B65-E7F49FE7E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DEB7CB3-2BFF-4E29-8EBE-4FD052F19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BC01B69-6B3D-45CD-A9AD-40D60CB18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EC02AF4-2DD0-4784-A39A-DA5B3831E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4A8DC67-739B-4EDC-A581-5423B17A0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0866E7A-A6FB-49AF-8814-73199FBD6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68579B2-615C-4498-B15E-BCA1A65E0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B498BEB-5FD9-4C5E-A8CC-590D42D42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8C9FF23-6E15-42E7-85B9-69AAC4E1E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BA08FC7-73D6-4E8C-9850-53D22E06C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064F00B-CA31-4644-80F3-B69B637B2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0BEB8FD-0B1A-4B49-A1F5-7F049167C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1FE65B4-84B3-40FA-9F27-88E840997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F0DE7CD-ADCA-4114-89F5-FCA63069D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88D38D2-39D2-418D-9114-DD47BFC67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49A489C-EA53-49A1-A1E3-B97D7D718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7FF6D50-B340-4BCE-B6C9-871E72362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7057062-96F8-43D9-88FD-BE972571D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6831</c:v>
                </c:pt>
                <c:pt idx="1">
                  <c:v>0.223</c:v>
                </c:pt>
                <c:pt idx="2">
                  <c:v>-1.6975</c:v>
                </c:pt>
                <c:pt idx="3">
                  <c:v>0.3668</c:v>
                </c:pt>
                <c:pt idx="4">
                  <c:v>0.2203</c:v>
                </c:pt>
                <c:pt idx="5">
                  <c:v>0.3675</c:v>
                </c:pt>
                <c:pt idx="6">
                  <c:v>0.3456</c:v>
                </c:pt>
                <c:pt idx="7">
                  <c:v>0.2809</c:v>
                </c:pt>
                <c:pt idx="8">
                  <c:v>-0.6721</c:v>
                </c:pt>
                <c:pt idx="9">
                  <c:v>0.321</c:v>
                </c:pt>
                <c:pt idx="10">
                  <c:v>0.3918</c:v>
                </c:pt>
              </c:numCache>
            </c:numRef>
          </c:xVal>
          <c:yVal>
            <c:numRef>
              <c:f>Sheet1!$B$2:$B$12</c:f>
              <c:numCache>
                <c:formatCode>General</c:formatCode>
                <c:ptCount val="11"/>
                <c:pt idx="0">
                  <c:v>0.6078</c:v>
                </c:pt>
                <c:pt idx="1">
                  <c:v>0.2544</c:v>
                </c:pt>
                <c:pt idx="2">
                  <c:v>0.797</c:v>
                </c:pt>
                <c:pt idx="3">
                  <c:v>0.3715</c:v>
                </c:pt>
                <c:pt idx="4">
                  <c:v>0.6948</c:v>
                </c:pt>
                <c:pt idx="5">
                  <c:v>0.6037</c:v>
                </c:pt>
                <c:pt idx="6">
                  <c:v>0.7136</c:v>
                </c:pt>
                <c:pt idx="7">
                  <c:v>0.7271</c:v>
                </c:pt>
                <c:pt idx="8">
                  <c:v>0.7947</c:v>
                </c:pt>
                <c:pt idx="9">
                  <c:v>0.6903</c:v>
                </c:pt>
                <c:pt idx="10">
                  <c:v>0.5305</c:v>
                </c:pt>
              </c:numCache>
            </c:numRef>
          </c:yVal>
          <c:bubbleSize>
            <c:numRef>
              <c:f>Sheet1!$C$2:$C$12</c:f>
              <c:numCache>
                <c:formatCode>General</c:formatCode>
                <c:ptCount val="11"/>
                <c:pt idx="0">
                  <c:v>1754.0</c:v>
                </c:pt>
                <c:pt idx="1">
                  <c:v>17159.559193954658</c:v>
                </c:pt>
                <c:pt idx="2">
                  <c:v>897.7777777777778</c:v>
                </c:pt>
                <c:pt idx="3">
                  <c:v>7625.128205128204</c:v>
                </c:pt>
                <c:pt idx="4">
                  <c:v>75823.49665924277</c:v>
                </c:pt>
                <c:pt idx="5">
                  <c:v>21416.964285714283</c:v>
                </c:pt>
                <c:pt idx="6">
                  <c:v>6750.3125</c:v>
                </c:pt>
                <c:pt idx="7">
                  <c:v>21518.936170212764</c:v>
                </c:pt>
                <c:pt idx="8">
                  <c:v>5644.0</c:v>
                </c:pt>
                <c:pt idx="9">
                  <c:v>68443.00636942674</c:v>
                </c:pt>
                <c:pt idx="10">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7C7F0E2-AD52-4650-9AF3-C17CC80B1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A546311-5D08-42A7-B39E-DE4A25AD7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E6F600F-05D1-46E5-A1E1-00A22A889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4114EC5-50DB-4511-8CA6-12D531F7A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8D7A86F-A614-4CD0-9C27-8DE030A9C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3BFE4C2-F081-4437-A8D2-3EA23DCA2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3DF58A6-3CB4-4D3D-811F-08B3DB582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53A660B-96D1-4A37-953F-F8F1C19BA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9A1201A-8305-43DA-BB45-52743D6BE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33692B9-5B7B-4363-9FD6-64E30E109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2ADDE46-0CA9-467A-8CCB-36EB86102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487526-A7A5-4A4B-ACB1-D6C5B523C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ADB9BCB-DCD0-4A8C-81E3-E6E847604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51FC4E1-6FC7-4DB1-9B21-DF7CDDB9B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E007507-2FB3-4339-913D-DF0AEB45C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780FC48-02F8-49AA-97F3-5F836338B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8A0F7F5-9391-44FC-8DC5-8F7FB32CB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3DF1989-D176-4DD3-9807-ED976A370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6FA2C9E-7C3B-4AE2-9E3B-AB89433AA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70E3F5B-5FFF-4DF5-A287-BF78625FF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E037A47-23A3-441A-912C-8E1D7F1F6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D477F8D-1C7A-400C-B018-ACE827575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8A8DCC3-FD17-4321-859E-1C13F033B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841BA5D-B122-4D87-9ADF-C252E666A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9E5336C-DFE7-497E-8D2D-87EC54563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FC2FD2D-2875-4E4E-BA3C-8DEEE4D0D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F863067-25FF-4F4C-80B9-7D3D22D09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93875B5-CD50-4E73-B7F3-CA6229020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FFCCE4B-FAAE-435A-8C17-B85E49498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D50AC47-1D53-4B60-9024-AEB0EC3CE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38853C2-065C-465E-A887-DD052DBCA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CD9C57A-7E1F-4F48-91B0-33002EC29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FF4C004-0714-4E61-8ED9-04C2264A2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B0D3095-15DD-40FD-B959-9CE3DF8BB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6B7F337-F9D9-46CB-9131-D0A518ECD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33FFAD4-84F0-4E90-8B35-62C2E05B5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8A88B9B-8FBF-4AB1-93EF-A70BDADC6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7EFB71B-0DE5-484A-983F-89B370728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B575AA3-CA4A-4F83-843A-24099F4B6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F62226B-8D9E-4C68-A971-D40634A02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7F0A397-DDA0-42E2-A040-814296885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90E4BFC-5E31-4B75-88EB-4C90F02A9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874B27C-B1C5-47B5-9843-0AEE87327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2FF30F8-16E4-4004-A154-F321D4DD6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C210BB2-39D2-4826-8D96-1BCB6577C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A0DB77F-FA8C-4565-A023-D7BDCA3E8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7F1B4ED-B981-4D9D-B8D3-6D9662EEB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1EADE06-F0FC-4DAA-88C5-D5F271433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3334547-442E-4F86-906A-B69826F84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8E5E424-51FF-41BF-AD99-1983CF398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01F4B70-CFDD-4BD8-815C-1B8046CC1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2A76CB2-65AE-4146-B331-196F34E0E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002EBF1-0888-49F0-A69E-3081C2A20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6B3BFD8-8E63-4651-81C3-D78A1AADE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E10F9F7-2CF9-4A1E-A7D9-878773251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DEB1150-1374-4749-B123-7B95CBA16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EC997F9-A676-4CAB-8434-0C9F30ED7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51</c:v>
                </c:pt>
                <c:pt idx="1">
                  <c:v>0.4884</c:v>
                </c:pt>
                <c:pt idx="2">
                  <c:v>0.3987</c:v>
                </c:pt>
                <c:pt idx="3">
                  <c:v>0.4029</c:v>
                </c:pt>
                <c:pt idx="4">
                  <c:v>0.43</c:v>
                </c:pt>
              </c:numCache>
            </c:numRef>
          </c:xVal>
          <c:yVal>
            <c:numRef>
              <c:f>Sheet1!$B$2:$B$6</c:f>
              <c:numCache>
                <c:formatCode>General</c:formatCode>
                <c:ptCount val="5"/>
                <c:pt idx="0">
                  <c:v>0.7386</c:v>
                </c:pt>
                <c:pt idx="1">
                  <c:v>0.4198</c:v>
                </c:pt>
                <c:pt idx="2">
                  <c:v>0.6837</c:v>
                </c:pt>
                <c:pt idx="3">
                  <c:v>0.7091</c:v>
                </c:pt>
                <c:pt idx="4">
                  <c:v>0.7317</c:v>
                </c:pt>
              </c:numCache>
            </c:numRef>
          </c:yVal>
          <c:bubbleSize>
            <c:numRef>
              <c:f>Sheet1!$C$2:$C$6</c:f>
              <c:numCache>
                <c:formatCode>General</c:formatCode>
                <c:ptCount val="5"/>
                <c:pt idx="0">
                  <c:v>779.0</c:v>
                </c:pt>
                <c:pt idx="1">
                  <c:v>31615.113182423436</c:v>
                </c:pt>
                <c:pt idx="2">
                  <c:v>10233.439767779391</c:v>
                </c:pt>
                <c:pt idx="3">
                  <c:v>38536.181506849316</c:v>
                </c:pt>
                <c:pt idx="4">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2B0EABE-D7F9-46E6-A15A-F88638027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2C32ED6-9D20-4FED-8BCB-EF8BB9F1E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1E48F0-A717-4C6C-941A-B715A3D80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ACBFBED-9E23-423A-B8BE-9FFEFE0DA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CA2E13F-CBEA-45FB-A0B5-E42E2537A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13A15E7-E56E-4DD4-B2D6-755C7E53B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D510E0B-BC2F-4A09-8F2F-E01F4E44F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358FF69-A7A4-41A4-9186-52A2B7BBA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1066568-458A-4633-A145-B10A41187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5DF4F7E-480C-4D43-AA85-73965B2D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920D113-D275-44B9-8B61-F4232F3D4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5C90ED7-C6C3-4ED1-8860-3117E013A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51110EC-F6D1-43D9-A85B-DA4767335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FC806EF-EC72-49A7-8314-CF359D4F8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485017F-E961-4256-A1B3-FB7D8D073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E435B61-2BD0-4733-A03E-B31FAF75C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BA91355-188F-4467-A625-DEF0E5168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DEE66E9-FBFE-43D8-8D30-B6D9979E5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EB40CA0-9161-4E74-B014-C177F4E4F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6B9499A-9136-4943-A244-8B7655B38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FB5D58D-EC3E-4052-B0E9-3C9416853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8363B24-0F1C-42F8-A54A-E85F05B54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33BA8F2-DB0D-49C1-BE36-AC5889422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3B54FAC-6FE5-41A0-A33C-61566F946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F13DFC8-BD29-4753-9098-484AD51FE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DE32B40-D885-4DCF-B132-2FB5818F8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69D8450-CA93-47BF-A594-8D4A6CF9A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A09EAD1-2409-409F-B17A-8241019BE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E96008D-26EF-45A1-8D73-697EAA1FC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D68D7FC-11AC-4DA3-AADC-02E9D5213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5A234EE-A8D1-4696-88D4-92F576136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37278E7-E18B-4E2E-B529-2E4B0ABDD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6AF2739-36A8-4021-8CA5-9C9CB9B21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2D37621-348D-4533-BE78-8CA2F9FEA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CB6687C-A21A-45C8-9092-195EC1A4F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5F0C45F-D49C-4AB2-B774-6250CDA25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391FD9C-877F-4820-ACA6-4BD7FBC58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920D459-15AD-4A07-BF55-A3243A08A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C74B48A-DBF9-4D47-9FC0-431B9F765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F830448-027A-46CB-8D98-2D31AB720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4822720-CC2E-491A-B863-83DD72102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8FD95B9-89A6-4279-AE82-91C2B21FE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37DCC72-2B7C-4185-AB38-D1D28DA71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0D7A7BF-E5AA-4728-9BE5-DC672DD0D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C696929-B96B-4382-B7FB-DE4DCC6D8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F77F27E-5641-4A66-A3FA-AD4987DF0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1336334-65FE-400C-876C-828B8F200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119C7D2-18F4-4E17-BD91-DBB604C77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F48568B-A792-4584-A9EE-B1FA42D4C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235DB7C-268C-4460-82DB-6CF929845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9D54A33-067F-4B44-B289-6C02D83A6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79A8B85-B464-439E-920D-192707682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EB6C2EC-ABDE-4379-BD52-8C8EF62AE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F9B2410-753D-43FD-B837-B43BD5D7A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7281300-C6A3-42E1-8F84-32B7730BF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6D614FD-6359-4097-A5D2-41D8122E6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5EF534A-19D2-4F7E-95D8-B288B8326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6</c:v>
                </c:pt>
                <c:pt idx="1">
                  <c:v>0.361</c:v>
                </c:pt>
                <c:pt idx="2">
                  <c:v>0.3461</c:v>
                </c:pt>
                <c:pt idx="3">
                  <c:v>0.3702</c:v>
                </c:pt>
                <c:pt idx="4">
                  <c:v>0.3194</c:v>
                </c:pt>
                <c:pt idx="5">
                  <c:v>0.2951</c:v>
                </c:pt>
                <c:pt idx="6">
                  <c:v>0.3517</c:v>
                </c:pt>
                <c:pt idx="7">
                  <c:v>0.3496</c:v>
                </c:pt>
              </c:numCache>
            </c:numRef>
          </c:xVal>
          <c:yVal>
            <c:numRef>
              <c:f>Sheet1!$B$2:$B$9</c:f>
              <c:numCache>
                <c:formatCode>General</c:formatCode>
                <c:ptCount val="8"/>
                <c:pt idx="0">
                  <c:v>0.3363</c:v>
                </c:pt>
                <c:pt idx="1">
                  <c:v>0.5238</c:v>
                </c:pt>
                <c:pt idx="2">
                  <c:v>0.4895</c:v>
                </c:pt>
                <c:pt idx="3">
                  <c:v>0.6218</c:v>
                </c:pt>
                <c:pt idx="4">
                  <c:v>0.6295</c:v>
                </c:pt>
                <c:pt idx="5">
                  <c:v>0.6515</c:v>
                </c:pt>
                <c:pt idx="6">
                  <c:v>0.7677</c:v>
                </c:pt>
                <c:pt idx="7">
                  <c:v>0.6351</c:v>
                </c:pt>
              </c:numCache>
            </c:numRef>
          </c:yVal>
          <c:bubbleSize>
            <c:numRef>
              <c:f>Sheet1!$C$2:$C$9</c:f>
              <c:numCache>
                <c:formatCode>General</c:formatCode>
                <c:ptCount val="8"/>
                <c:pt idx="0">
                  <c:v>14944.044795783924</c:v>
                </c:pt>
                <c:pt idx="1">
                  <c:v>42879.101283880176</c:v>
                </c:pt>
                <c:pt idx="2">
                  <c:v>7261.435331230284</c:v>
                </c:pt>
                <c:pt idx="3">
                  <c:v>42642.53684210526</c:v>
                </c:pt>
                <c:pt idx="4">
                  <c:v>6803.554502369669</c:v>
                </c:pt>
                <c:pt idx="5">
                  <c:v>51342.777129521586</c:v>
                </c:pt>
                <c:pt idx="6">
                  <c:v>52579.06283280085</c:v>
                </c:pt>
                <c:pt idx="7">
                  <c:v>6009.7767857142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9594703-1B68-4463-AB59-C1850A4E4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D6607DF-0B23-409E-8748-2E0F6D5F1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7DF4ACA-41F7-4870-88BC-379CD54FE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288613C-E8E4-4737-B3F2-F73A626ED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C5C47CD-5CE4-4339-9838-80AC71B79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5D25539-D4ED-414F-B128-91EF40540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F4064CD-2CAF-4883-9B01-D7852CB4E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94A0302-5E1E-40C2-8306-11EDF7EA2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542</c:v>
                </c:pt>
                <c:pt idx="1">
                  <c:v>1.7986</c:v>
                </c:pt>
              </c:numCache>
            </c:numRef>
          </c:xVal>
          <c:yVal>
            <c:numRef>
              <c:f>Sheet1!$B$2:$B$3</c:f>
              <c:numCache>
                <c:formatCode>General</c:formatCode>
                <c:ptCount val="2"/>
                <c:pt idx="0">
                  <c:v>0.6296</c:v>
                </c:pt>
                <c:pt idx="1">
                  <c:v>0.604</c:v>
                </c:pt>
              </c:numCache>
            </c:numRef>
          </c:yVal>
          <c:bubbleSize>
            <c:numRef>
              <c:f>Sheet1!$C$2:$C$3</c:f>
              <c:numCache>
                <c:formatCode>General</c:formatCode>
                <c:ptCount val="2"/>
                <c:pt idx="0">
                  <c:v>12656356.554299988</c:v>
                </c:pt>
                <c:pt idx="1">
                  <c:v>10147245.1986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5832"/>
          <c:min val="0.523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084014314736"/>
        <c:crossBetween val="midCat"/>
      </c:valAx>
      <c:valAx>
        <c:axId val="1011451359"/>
        <c:scaling>
          <c:orientation val="minMax"/>
          <c:max val="1.1155199999999998"/>
          <c:min val="0.2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6344005475865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E0A8E9F-C0C9-4AF9-BD7B-2CC666B4E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57E75B1-2635-475E-8428-09A6907E8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186F916-7155-41D8-B615-D145D4154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E7F00BB-F631-48F4-BEF1-1443CC636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6A52953-6A68-408C-9B18-44D43FCBA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87D4CD-2435-4C25-BAB1-9DE95B297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A66E9D8-8EAA-4484-A463-FEC6A08D6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369260-9D28-4E25-983A-2A5C97894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2289E9C-2367-47B1-BD5B-7449D83CF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885DA85-DB39-4BF7-8C9F-962720C33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0DAD90A-A923-4FEF-BE62-49586F1BD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BC851A2-FE7C-4137-9D22-019161234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9F24334-6201-43E9-BA55-721A5F312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231CF81-C3FB-4D85-A76D-DA52BB0BF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50137BC-5A9D-46BF-B714-1614FE679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0904F9C-BACA-4749-804C-EF5C067BD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2090DDB-6910-4AF6-AAD7-D7063A456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76B3384-5EAB-466C-B09D-165505259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31B2A06-5D47-43A1-962E-A42A6D088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6C0F52C-157D-4ED2-9243-6E087631B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889FFB5-BFBD-4D7A-A7C5-059BC1E64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4128CA0-45B6-4B2A-8687-BF30F46C4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CEA372B-B165-4C7E-B81B-8B84B5EDF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AB9A418-C114-4DCF-97C5-781047056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2EB558D-49E4-4CD5-BBD4-46362CC56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0C927B7-750D-4AFF-9153-A8C22E80D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2EBBC90-736D-4F07-8AA5-78B61B993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B450E47-007D-4361-BBA6-6C86DB527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18D8C18-AA7B-498F-B405-4486D57D2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04E02A7-171C-45A6-A9C4-CFFC39692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E07BEC2-2BBC-4648-8E82-BD64E9002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6E367CE-0690-4147-AF28-B21301076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E36A9CF-9A66-41DE-8793-83A93F7C6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C511CA6-8C2A-42D8-B603-1BEDF81D8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98AB9AE-99BF-4FE0-870E-24DD250B3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1FA1231-B2F9-4AA7-8FAD-C69BEAA0F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E49B134-1D63-4311-8538-9C9CD52BF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C96544A-10D4-4EE7-A456-435DDD5DF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0EF2F1C-D733-42DC-B31A-E185DE64B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5E4207C-F7B4-408E-9CBD-A81D1A52C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C1EBD79-0126-4C77-B141-151ED2265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1C57949-7CAE-434D-9CEC-1EADC3B3D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93D2F9C-0AC1-43F1-BE11-8DCBE7A99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8F2592E-6B6C-460A-A537-AABA3ADB6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1534135-4F15-45D7-9244-4133AB52B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F08EFDD-062B-49DF-B468-C352A32EE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F65F2FD-CED3-4020-A245-B0DBA8A62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9F4E9A4-3649-4F74-BBD4-3056D5946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2A9E002-1A3B-4DCF-B55E-2A8908394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3B4C5BE-1F65-411A-8FFF-A10CB7A82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B38B2C8-9880-4C2E-856E-ABC205ED7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1D5E52C-6482-49FB-AF10-8348DECDE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FAA1D64-0B39-4A70-BA46-4810FA53B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BABDAE8-6C82-4C7B-A1CD-5731DF1D5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49BA4E2-2AA1-4BDF-B311-3D2C94448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BBD5DEF-291A-4BB3-8B8E-EFB51E55B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E2D64D1-681A-4781-B3A5-0A1436727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7</c:v>
                </c:pt>
                <c:pt idx="1">
                  <c:v>0.4473</c:v>
                </c:pt>
                <c:pt idx="2">
                  <c:v>0.5474</c:v>
                </c:pt>
                <c:pt idx="3">
                  <c:v>0.4477</c:v>
                </c:pt>
                <c:pt idx="4">
                  <c:v>0.299</c:v>
                </c:pt>
                <c:pt idx="5">
                  <c:v>0.4032</c:v>
                </c:pt>
              </c:numCache>
            </c:numRef>
          </c:xVal>
          <c:yVal>
            <c:numRef>
              <c:f>Sheet1!$B$2:$B$7</c:f>
              <c:numCache>
                <c:formatCode>General</c:formatCode>
                <c:ptCount val="6"/>
                <c:pt idx="0">
                  <c:v>0.4911</c:v>
                </c:pt>
                <c:pt idx="1">
                  <c:v>0.4934</c:v>
                </c:pt>
                <c:pt idx="2">
                  <c:v>0.4797</c:v>
                </c:pt>
                <c:pt idx="3">
                  <c:v>0.5165</c:v>
                </c:pt>
                <c:pt idx="4">
                  <c:v>0.0105</c:v>
                </c:pt>
                <c:pt idx="5">
                  <c:v>-0.0026</c:v>
                </c:pt>
              </c:numCache>
            </c:numRef>
          </c:yVal>
          <c:bubbleSize>
            <c:numRef>
              <c:f>Sheet1!$C$2:$C$7</c:f>
              <c:numCache>
                <c:formatCode>General</c:formatCode>
                <c:ptCount val="6"/>
                <c:pt idx="0">
                  <c:v>88856.37563451777</c:v>
                </c:pt>
                <c:pt idx="1">
                  <c:v>34693.635394456294</c:v>
                </c:pt>
                <c:pt idx="2">
                  <c:v>37190.41710114703</c:v>
                </c:pt>
                <c:pt idx="3">
                  <c:v>39700.24149286498</c:v>
                </c:pt>
                <c:pt idx="4">
                  <c:v>17923.486707566462</c:v>
                </c:pt>
                <c:pt idx="5">
                  <c:v>38983.2186234817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50A16C5-58BA-41FE-A042-5324E832A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219C736-10FE-4ACD-BAF2-77DC457AE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69180E6-DF34-4CFA-BDB3-B59911846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7211DCD-34BC-40B6-BDB1-70047E6F4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7701DAD-B7AC-4644-B627-6EE1009F3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CEC13A7-6717-44DB-B18D-8112E46F6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1DCB12D-D839-4354-A4C0-6328D6549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85189E5-4941-4257-80EE-9CB545E1D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C038AD4-DC39-443D-B979-6FDA33E80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996C755-8768-4812-BA03-10B8F2BF5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7FAD049-A2AD-4F34-B986-F0D849920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18E1E77-17A9-463D-ABDF-518116DA2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78539E9-D5A9-4294-83ED-C00071897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25C6F5B-D3CC-43F9-B785-EDBCED0C0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3BC80EB-2FDE-40E2-8378-1F294C536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112522A-E944-44D6-8111-47ACF9838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92C45EA-5711-4239-9DC7-812737642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B260DF7-5E3F-41D6-BF24-A7879B06C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656C865-145B-4B2B-8CDB-BBD1467C7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00B58C7-BCAA-43C7-BD83-99C666602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50E25A9-B252-4676-9262-053B55889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8BABE14-75BF-46DE-A058-196FC1D01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E43AC81-545F-40D3-B332-54AB1219F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F86D64E-2DA5-4D22-AEC9-4A6F7B078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322527A-FE0C-4035-9279-7EAD504C9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C6D1A5C-056E-469B-BA59-5EA0C9BB3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118C1EF-9A2D-485F-B880-E54394DA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A1B6376-2133-4D3B-8A7A-2AD775691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0FAAA83-CFBF-495B-98A7-C2AEBFD96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875AF2E-7C3D-4E45-B498-F33AAAD33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2ACE2F9-80F4-4267-8631-27A81A815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670DCEE-DDE8-4AEE-86B9-53A0FC18D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B51BC28-DB8D-4225-9B5B-2BB522C01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63640EE-F79F-4F1B-88DF-5320A6929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4E68739-1ECF-4BE7-8D70-F5DF06CEE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EA590E8-D41D-40B4-9808-79FA74D99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20B3C56-5B0E-44AE-8BD1-69B076FA0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3336EE4-7501-4E5C-8F84-FB46EF458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DF581C6-69A3-4DBB-9365-580D96E0E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E58BB1E-AE1E-45EA-8F49-665AC22F4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371F09C-2E8D-4427-AC66-2682D110E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D58E8B4-E739-488F-90CD-D48AF5814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B960D69-AD4A-4343-9B80-44C003BC4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EC80FF7-84BA-4977-9100-62E3E48A7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BA8D006-D4AE-49F3-82C7-27705C183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4C5FCA8-BD88-4103-B31D-FB7D27C27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0E1B497-00DD-44B8-B8AA-822801AB1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EB78154-3806-4EA5-A1BA-6E9E136B1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B22AC0C-A80A-4628-8FCD-302A22075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76EDD10-87A7-4C7B-A2D0-DB4E22F8E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8921476-FD2D-4A55-9B90-17AD65EB0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DD1D7E1-3657-44CE-9F9F-48F906CF8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C6AD4D4-BBE6-4E80-8517-AD82F4C49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2F59186-9A6B-4708-83E0-B92F45365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F630DAB-E20A-4CAF-B3A1-391AEB062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9D5A58F-02C8-47E0-9170-B98C7DFC5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FCC5ED6-9120-4771-AD0B-2AF8CD5E4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098</c:v>
                </c:pt>
                <c:pt idx="1">
                  <c:v>0.368</c:v>
                </c:pt>
                <c:pt idx="2">
                  <c:v>0.3539</c:v>
                </c:pt>
                <c:pt idx="3">
                  <c:v>0.3752</c:v>
                </c:pt>
                <c:pt idx="4">
                  <c:v>0.327</c:v>
                </c:pt>
                <c:pt idx="5">
                  <c:v>0.301</c:v>
                </c:pt>
                <c:pt idx="6">
                  <c:v>0.3579</c:v>
                </c:pt>
                <c:pt idx="7">
                  <c:v>0.3568</c:v>
                </c:pt>
              </c:numCache>
            </c:numRef>
          </c:xVal>
          <c:yVal>
            <c:numRef>
              <c:f>Sheet1!$B$2:$B$9</c:f>
              <c:numCache>
                <c:formatCode>General</c:formatCode>
                <c:ptCount val="8"/>
                <c:pt idx="0">
                  <c:v>0.3363</c:v>
                </c:pt>
                <c:pt idx="1">
                  <c:v>0.5237</c:v>
                </c:pt>
                <c:pt idx="2">
                  <c:v>0.4895</c:v>
                </c:pt>
                <c:pt idx="3">
                  <c:v>0.6218</c:v>
                </c:pt>
                <c:pt idx="4">
                  <c:v>0.6295</c:v>
                </c:pt>
                <c:pt idx="5">
                  <c:v>0.6515</c:v>
                </c:pt>
                <c:pt idx="6">
                  <c:v>0.7677</c:v>
                </c:pt>
                <c:pt idx="7">
                  <c:v>0.6351</c:v>
                </c:pt>
              </c:numCache>
            </c:numRef>
          </c:yVal>
          <c:bubbleSize>
            <c:numRef>
              <c:f>Sheet1!$C$2:$C$9</c:f>
              <c:numCache>
                <c:formatCode>General</c:formatCode>
                <c:ptCount val="8"/>
                <c:pt idx="0">
                  <c:v>874.0</c:v>
                </c:pt>
                <c:pt idx="1">
                  <c:v>3373.205882352941</c:v>
                </c:pt>
                <c:pt idx="2">
                  <c:v>574.65625</c:v>
                </c:pt>
                <c:pt idx="3">
                  <c:v>3032.8736842105263</c:v>
                </c:pt>
                <c:pt idx="4">
                  <c:v>506.07142857142856</c:v>
                </c:pt>
                <c:pt idx="5">
                  <c:v>3945.977011494253</c:v>
                </c:pt>
                <c:pt idx="6">
                  <c:v>4372.0</c:v>
                </c:pt>
                <c:pt idx="7">
                  <c:v>413.272727272727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0A07EB4-0508-4A1D-B837-05C1762D4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48F43A3-8A28-4A19-BE3E-3A8B5606D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911B5F-1767-415A-8B80-8022FA68C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C78FBE9-5E73-4712-BC8D-9A07FDA47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33F92CF-5AC0-4AE9-A861-96E89E5DA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8F6F379-BEAB-4446-B1FF-923C82F6B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84AB2DA-5D25-4F5C-AD55-93474617F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DEB140B-7C4C-41D8-AE22-09B9C5880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23D9D33-75D3-488D-8C78-9E4A352EF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B44143A-2374-48E6-B6CA-58F0C4BC8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DBC96B9-F1ED-417A-A2D4-D8E6AEC0B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8425049-74B7-418B-9612-7A66E33D5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4976080-08FA-4404-B45D-9435D30A0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76638AD-2C97-43DA-B7EA-66EA2FD92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EC51CB7-D489-42A2-9C19-35A3276E7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6B8D638-CDC6-4267-9027-1592FE4EF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0762756-C9FA-4765-952C-23115C1BC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F1BF00F-02C4-48F2-BF43-048EAA7EF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6451AD7-B842-4711-9B4C-AD20F16CB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EC563B1-90EA-4130-8C68-C4CC2FA5D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630A073-9D35-4DC6-BAD3-96E5111E2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6025D22-AA05-453B-B2F6-73F4BB22D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A0F78F9-8E92-4083-B4E9-B625CD0B5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0C0B800-840A-4D63-B296-803BB1455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454A98C-A38B-4E86-B014-BC8896580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6730561-121F-42A8-B2DB-B9A845038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DFEEA04-1A87-416A-A04F-B85FCC144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D483099-6DF0-43F4-9A96-BA700184A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7BBEA64-2814-4173-B25A-8E4EEC636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5FD63B5-44BD-46F0-A12A-6E1B626DC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00BE5CA-815A-43F1-8C01-9E8080CA9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0136489-DF32-4916-A5AD-1A84484ED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1A04D72-11EA-4DD8-9E7D-13D15FE02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4796F77-1206-4C79-A983-5768C0853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C78DCC9-4208-4F9D-893F-3E06BA49C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A9CDAA3-1A39-45F4-B317-6341E7B4B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AB29EFA-3542-4CC9-9AF8-9B7E27ACF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1964418-0327-429C-9809-2DE3BFBE5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E9DEED9-3B4D-4531-8F74-0A0B1599D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CDD921C-6435-4801-88C0-DE42D8A83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59E9DE8-02D5-499E-B93A-E748FEA9E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4E45D63-066A-457E-B424-784682C4E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81E6370-FBA3-4798-BC1A-3F235EB86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426D990-7468-418A-87A6-3E1DDCC3D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FED71A0-1C96-4024-AC58-A6BD0E2F3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955A9E7-1BA3-465B-84AC-E45D2706B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199BCE3-7C4A-44CD-9D5D-DEC997ADF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714E22B-EC28-4CBC-BA2F-87CC7CB25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D644EBB-6587-4DBB-AEDF-E00C265CE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99089A0-01E7-4D4B-B10A-32EA9F7E8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8F572C9-80EF-43DF-9348-4C908C799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079E053-B044-4211-8B77-05D1342E9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C25F9AD-AD55-46E6-BA87-94A2807EA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6CEBBE2-B8EB-44EC-BE98-90DCBF1FF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50D01E8-A1B0-4AB3-A3E8-B36D52312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9F82B0D-2F7B-4EDD-B876-E90F5149C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A154EB0-3BF4-47A5-A13E-995D4C15B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87</c:v>
                </c:pt>
                <c:pt idx="1">
                  <c:v>0.4532</c:v>
                </c:pt>
                <c:pt idx="2">
                  <c:v>0.5509</c:v>
                </c:pt>
                <c:pt idx="3">
                  <c:v>0.4479</c:v>
                </c:pt>
                <c:pt idx="4">
                  <c:v>0.3088</c:v>
                </c:pt>
                <c:pt idx="5">
                  <c:v>0.4033</c:v>
                </c:pt>
              </c:numCache>
            </c:numRef>
          </c:xVal>
          <c:yVal>
            <c:numRef>
              <c:f>Sheet1!$B$2:$B$7</c:f>
              <c:numCache>
                <c:formatCode>General</c:formatCode>
                <c:ptCount val="6"/>
                <c:pt idx="0">
                  <c:v>0.4911</c:v>
                </c:pt>
                <c:pt idx="1">
                  <c:v>0.4934</c:v>
                </c:pt>
                <c:pt idx="2">
                  <c:v>0.48</c:v>
                </c:pt>
                <c:pt idx="3">
                  <c:v>0.5166</c:v>
                </c:pt>
                <c:pt idx="4">
                  <c:v>0.0104</c:v>
                </c:pt>
                <c:pt idx="5">
                  <c:v>-0.0032</c:v>
                </c:pt>
              </c:numCache>
            </c:numRef>
          </c:yVal>
          <c:bubbleSize>
            <c:numRef>
              <c:f>Sheet1!$C$2:$C$7</c:f>
              <c:numCache>
                <c:formatCode>General</c:formatCode>
                <c:ptCount val="6"/>
                <c:pt idx="0">
                  <c:v>6191.265306122449</c:v>
                </c:pt>
                <c:pt idx="1">
                  <c:v>2490.9578947368423</c:v>
                </c:pt>
                <c:pt idx="2">
                  <c:v>2380.074468085106</c:v>
                </c:pt>
                <c:pt idx="3">
                  <c:v>2854.177777777778</c:v>
                </c:pt>
                <c:pt idx="4">
                  <c:v>1268.8556701030927</c:v>
                </c:pt>
                <c:pt idx="5">
                  <c:v>3147.91919191919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6483773-3AC8-47B6-B727-63735B0AE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B8CB23D-6924-4764-8C24-D8B30F6CC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673D6D-D180-46B3-82EE-7758D17F4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AD56F57-5D55-4ECF-AFB4-E11B62D28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A2A091D-93D8-402A-B231-54A4B4143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A01E5D4-016F-44CB-ADC4-C815FFD7B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F0C9DF9-FABA-4F2A-94BE-705F4F5BC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C42FFCD-2D5C-4840-98B5-E15BDC049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7E9D192-384A-4783-BBD7-5DBA66259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2929BE8-3FF9-4323-A7EF-130F2107C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7592DD7-9AA1-4249-94C7-2475E1189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48BBE52-4682-4E09-9324-BE2501F8C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3325260-42CE-45C2-901C-95918BB3D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133C8A3-E3F0-4055-BB24-131ACD8C3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FA61EA3-6203-4628-A1FC-430148B81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3958746-9F8A-4B3B-AD3F-192551CF9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6B616AC-9762-4A06-835A-62FB406EA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58205D6-2AEF-4435-A354-FEEB9D47E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CB4E1E1-673A-4CA2-B552-4E29EF1BA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C1EE4E6-24B7-4119-94C2-F2EDAD29A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41FC01B-FEBC-44E9-878B-8457E894B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18EEBE0-6D99-4E1D-B8C5-15B2A9678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241898E-2275-4130-BE87-72CEDFDF3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0ABC184-7339-4293-B908-AD8E34EA2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F0F240C-A495-4B6D-956E-BC0082A39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DF05408-4CA5-473B-A043-1F72C08F6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FCEC45B-5263-4A3C-B7CA-AB8E0A272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819FD20-E2AB-4621-8CD4-3E15E20B8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D69C4AF-E1F3-4D54-A8CA-8ED71B38F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62723D3-C80C-49BA-945D-28313E484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1A1FA3F-CC75-4945-B499-875E84F62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B583C08-FE70-4D51-9552-A80B0BD52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32DC424-97B0-4699-A826-994418FAB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E82CDA3-80A9-4DF9-93FF-8348C5F82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B1B4F79-F770-46A1-8ED6-B05923B4A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416D478-5938-40FD-A556-1B0694213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355479E-3D31-4142-87E3-7FAC94D4F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46F5BF2-EE19-4459-8971-3EC4AF5FA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B543EE0-EED1-4B7F-A2BD-43D133A38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86E66AD-A792-422B-84A4-F9E30B19D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3C3F924-C5D8-4C08-AA20-BDF1DBC50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4E88DC2-2FF5-4D57-97D7-53607134C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FF8ED9E-5DE5-4330-8A93-ECEC7B159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F66FD8A-2A96-4689-A840-A207C97C5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FC8052D-3D81-4884-8657-F789E5E3D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0F5DD7B-BAC1-4B0F-AABE-625FCDE9E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E5B4C2F-1410-4ADB-B759-05D8F8545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269CA30-DA90-411C-9CAF-F7A4AFC2E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87B4AE4-B3DF-4AF9-8EDF-A7B5A3FFD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BF87F12-CBC8-4DC2-8E89-C140A7F06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25AE216-FA39-4CA6-A364-8BD5B9B8C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4068558-D176-4825-85A1-11679DE0F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75386BF-CDF5-4786-B298-80F403035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FE6D2D8-E888-4575-AD07-8B6C9FB39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18B7DD8-C016-40D6-A7E1-04BC0BF9A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AB4AFFA-7DCD-4735-B119-3FD16E626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DD9C11D-6E57-42A5-942E-CC4B7F493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585</c:v>
                </c:pt>
                <c:pt idx="1">
                  <c:v>0.3458</c:v>
                </c:pt>
                <c:pt idx="2">
                  <c:v>0.3705</c:v>
                </c:pt>
                <c:pt idx="3">
                  <c:v>0.3215</c:v>
                </c:pt>
                <c:pt idx="4">
                  <c:v>0.2958</c:v>
                </c:pt>
                <c:pt idx="5">
                  <c:v>0.3532</c:v>
                </c:pt>
                <c:pt idx="6">
                  <c:v>0.3506</c:v>
                </c:pt>
              </c:numCache>
            </c:numRef>
          </c:xVal>
          <c:yVal>
            <c:numRef>
              <c:f>Sheet1!$B$2:$B$8</c:f>
              <c:numCache>
                <c:formatCode>General</c:formatCode>
                <c:ptCount val="7"/>
                <c:pt idx="0">
                  <c:v>0.5245</c:v>
                </c:pt>
                <c:pt idx="1">
                  <c:v>0.4895</c:v>
                </c:pt>
                <c:pt idx="2">
                  <c:v>0.622</c:v>
                </c:pt>
                <c:pt idx="3">
                  <c:v>0.6295</c:v>
                </c:pt>
                <c:pt idx="4">
                  <c:v>0.6518</c:v>
                </c:pt>
                <c:pt idx="5">
                  <c:v>0.7677</c:v>
                </c:pt>
                <c:pt idx="6">
                  <c:v>0.6351</c:v>
                </c:pt>
              </c:numCache>
            </c:numRef>
          </c:yVal>
          <c:bubbleSize>
            <c:numRef>
              <c:f>Sheet1!$C$2:$C$8</c:f>
              <c:numCache>
                <c:formatCode>General</c:formatCode>
                <c:ptCount val="7"/>
                <c:pt idx="0">
                  <c:v>4859.933333333333</c:v>
                </c:pt>
                <c:pt idx="1">
                  <c:v>743.5416666666666</c:v>
                </c:pt>
                <c:pt idx="2">
                  <c:v>3557.604938271605</c:v>
                </c:pt>
                <c:pt idx="3">
                  <c:v>609.5901639344262</c:v>
                </c:pt>
                <c:pt idx="4">
                  <c:v>5031.307692307692</c:v>
                </c:pt>
                <c:pt idx="5">
                  <c:v>4400.727272727273</c:v>
                </c:pt>
                <c:pt idx="6">
                  <c:v>536.436619718309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21C4391-9D36-4B3E-8C2D-E31EF5AE3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3B481D0-C36B-4BF5-867A-7800C1D01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AAF1778-6FED-4DF8-A5D5-6885E7CB7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F4E716D-F5FB-4E3A-BBB8-55E066A77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D044B15-AA92-4D33-B03A-7890D09A5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97EDEF2-3622-422C-AE95-C3C0C6419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B5C40DE-943C-4470-9910-12D7E045D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E29B142-A578-4CC0-9AC1-9A2859770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5C651DD-D514-4DA7-823E-8C37AD564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32A6CA7-CE1F-46FF-AC6F-9E24E677C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30AA691-56D3-4A8E-B536-03B297CE5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9D31837-727A-44E1-9FEF-68F28C6D9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F6BE9B4-92EA-44D7-AD24-C8DD54F79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871CACF-B2D9-4A90-926C-0BF765483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23C8A14-C636-4E54-BF79-25C3C7A17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78952CE-A31D-4EC3-B466-7446562B2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4B2279F-B288-4E68-9306-F53DE921F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E1A84CB-C585-4B26-BD4E-F467E2B98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5BECFBB-ED39-4835-BECB-8A8C6DF5C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B6E885A-1F78-44E3-AA81-42D10F77A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E3AB526-8E9B-414E-8ABB-40637A50A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CF2E860-921C-4640-8C2B-7F8C5A0F1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E7A84CB-FAB9-45C3-9C48-AFC31A385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A6497E0-E987-409E-93D9-BFBB8BFF7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60C9204-D10E-420E-B20C-946968881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EAF9302-8FDD-474C-8FA7-343F967C3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9707EAC-077B-4F2C-B293-D386404AE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FFD0BD7-78EA-499B-B839-91C3599AC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8C81BA9-954E-411D-904C-6BACA614A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F0EF8A4-BC66-4325-BF26-D2280D3F9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1CEB428-05D6-46A7-8E57-4FB883692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1A0ED90-F08C-4408-8907-03ECE5888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F55904D-6958-4364-AEAF-91D3DB5B5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EF364EC-3852-4A4A-BDED-A55DBEBFB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63E5371-29EB-4032-BA9F-3CD3BE35D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E388438-CB99-43BE-9D96-1230D2420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8A27E8C-0996-4EE3-BFAE-F080F000B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36CEC43-1B5C-406A-B676-046529D58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B1E8CA6-1600-4606-A3E5-AEBDDADD8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C604034-8808-4502-A0E9-9C1237024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F17209D-DC4E-473A-BEED-CF2C2167F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D036F9B-A34A-401D-B4FA-D88464054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0D8F6F8-3B71-4575-A81A-75B49F7D3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9D69B72-E7C3-4D3D-A6C4-4694F4F94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380031E-3EA1-497A-987F-EEE05FA8D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9194827-CCD2-4876-B0B5-CB952E63E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D2E8969-07DD-44C6-BCF0-FFE5B714B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523EEB9-1A47-4436-BE58-BA27C852F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102A136-E2A1-4D53-8088-5999AC8CC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043E047-14CD-46E4-B6D6-D73DAB59E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6BA01B6-1798-4503-B70C-D12F74FB3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08FBD02-1CEF-4617-B448-BD8EA2270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C1CE935-8C05-4F0F-BD8E-0700FE7E8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4129F37-CAFC-49CA-A513-9AFC2A2D3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B0E411C-35C8-4221-BE2D-BD342DA73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34B7D00-AF3D-4D2C-A719-A9C632E85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64319C1-9DF8-4B20-83DF-7F83BD3BF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44</c:v>
                </c:pt>
                <c:pt idx="1">
                  <c:v>0.448</c:v>
                </c:pt>
                <c:pt idx="2">
                  <c:v>0.5479</c:v>
                </c:pt>
                <c:pt idx="3">
                  <c:v>0.4473</c:v>
                </c:pt>
                <c:pt idx="4">
                  <c:v>0.3031</c:v>
                </c:pt>
                <c:pt idx="5">
                  <c:v>0.4032</c:v>
                </c:pt>
              </c:numCache>
            </c:numRef>
          </c:xVal>
          <c:yVal>
            <c:numRef>
              <c:f>Sheet1!$B$2:$B$7</c:f>
              <c:numCache>
                <c:formatCode>General</c:formatCode>
                <c:ptCount val="6"/>
                <c:pt idx="0">
                  <c:v>0.4909</c:v>
                </c:pt>
                <c:pt idx="1">
                  <c:v>0.4936</c:v>
                </c:pt>
                <c:pt idx="2">
                  <c:v>0.4789</c:v>
                </c:pt>
                <c:pt idx="3">
                  <c:v>0.5158</c:v>
                </c:pt>
                <c:pt idx="4">
                  <c:v>0.012</c:v>
                </c:pt>
                <c:pt idx="5">
                  <c:v>-0.0022</c:v>
                </c:pt>
              </c:numCache>
            </c:numRef>
          </c:yVal>
          <c:bubbleSize>
            <c:numRef>
              <c:f>Sheet1!$C$2:$C$7</c:f>
              <c:numCache>
                <c:formatCode>General</c:formatCode>
                <c:ptCount val="6"/>
                <c:pt idx="0">
                  <c:v>5807.010989010989</c:v>
                </c:pt>
                <c:pt idx="1">
                  <c:v>2923.9189189189187</c:v>
                </c:pt>
                <c:pt idx="2">
                  <c:v>2862.6341463414633</c:v>
                </c:pt>
                <c:pt idx="3">
                  <c:v>3479.353846153846</c:v>
                </c:pt>
                <c:pt idx="4">
                  <c:v>1727.178947368421</c:v>
                </c:pt>
                <c:pt idx="5">
                  <c:v>3081.30526315789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C390EE0-D233-4DE3-B253-6B484F2C8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5994A05-1190-4F59-93A6-A0C491B58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7CE746-681C-4305-9D5C-26690C6CD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3DA67FE-37C3-4AA8-9147-7DC7B16CA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F06362D-FBAA-4810-B6D8-EF5DB0DDE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0C007BD-B266-4A85-B84C-B0A51DFB5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462883E-2075-434E-B2F3-11D9BE264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2BB8210-4180-492E-9034-AF9FFC0AD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4EB0D4F-F45F-4E2B-B5F2-FA579C1F0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97F59A0-1B6A-4DA4-A42D-B14E38974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A216F3F-1941-4379-860F-1461BDE2E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72257CC-028A-4284-A389-572FD8ACB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6B8D1F3-D79B-41BC-963E-8CBC052FF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0EB0B17-FAAA-4D0B-BA33-A7145F4FA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AF6C55E-AAD9-4CBF-9702-1D554FDD0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E083F2A-7D8F-46E4-820A-494410A07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0BBE3BE-B0F3-48E9-A55B-1CDB794D5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7E2644C-FC3F-464C-8982-99EF70F5C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393ABBB-EC3F-44B6-B0C8-6E1D1E31D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9A2C2D0-DCF7-4915-BDCA-3E7277D05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7BE1334-86C1-4AA3-A8BF-BADC4A89B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774629F-DB5F-4C71-BFD1-0107A61EC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E4638C5-C12A-4321-B317-EAC1F7FD8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006407B-C849-4DF7-94D2-89D0BEA44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58A5AC2-5BF0-4FDB-A684-04DEE7FEB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41549E5-7B55-4F29-8DCA-5CD5FA9B8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07E2AF1-7586-4902-9546-D7965642B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745E091-50F0-417F-9B7B-097F41667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70FFB10-BFC7-4B5B-9C42-FA1907929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F874368-6257-4FE1-AF01-289158D73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E7CD46F-C6F2-4E39-BA69-BDD191ADB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466F417-AC9A-4730-9284-EB6F481B9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35D30C3-F0AC-408D-8BC7-C24398198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9CA17F5-F948-4716-8AD8-954A2DE6F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8C8A6E0-0E93-4C1A-8059-0A79F85C7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0981721-3230-4A7B-9CA1-405F6284F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930A78D-3016-4A4C-87AF-3602B44FA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054829E-762C-4DE3-AAD3-71D751DC1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AE0F428-F23D-431B-8281-00FD56278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0C1BAB0-06A5-42BF-B217-4586CAC40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8D127CE-0C21-43C8-89E3-B872B0674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4A5E593-F6B0-49A8-826B-714C8CA5D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33CBA2A-DCE3-45CA-AB8A-DDB6D026F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73265E9-3499-40DB-BF6E-E883302E7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B669430-666C-402B-81B6-4A31F6C46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8FDE9EA-9533-46BA-AF8E-568A622E5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CD62713-0381-4917-87A6-56364C522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AD0E12A-BD03-4FB4-8617-65CD1B907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AF3428B-860D-4752-B538-DEC8E18E1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88AEB3D-EEF1-409B-9DF0-E320C52EC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ED54628-4C91-4E64-8D30-70B1542C2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702652C-CDC2-46A8-BBCA-4BC9A9593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540AC43-8816-4413-AF70-AA1C29220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E67B6BD-05F5-4B26-96FA-1ACDE4CEA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0349737-6534-46F2-8ED5-321424DC5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2A41103-E79D-4EBA-84FC-032957EAF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CE1BACB-273A-45DF-B8A3-4A51C6591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4</c:v>
                </c:pt>
                <c:pt idx="1">
                  <c:v>0.3605</c:v>
                </c:pt>
                <c:pt idx="2">
                  <c:v>0.3455</c:v>
                </c:pt>
                <c:pt idx="3">
                  <c:v>0.3698</c:v>
                </c:pt>
                <c:pt idx="4">
                  <c:v>0.3185</c:v>
                </c:pt>
                <c:pt idx="5">
                  <c:v>0.2945</c:v>
                </c:pt>
                <c:pt idx="6">
                  <c:v>0.351</c:v>
                </c:pt>
                <c:pt idx="7">
                  <c:v>0.3489</c:v>
                </c:pt>
              </c:numCache>
            </c:numRef>
          </c:xVal>
          <c:yVal>
            <c:numRef>
              <c:f>Sheet1!$B$2:$B$9</c:f>
              <c:numCache>
                <c:formatCode>General</c:formatCode>
                <c:ptCount val="8"/>
                <c:pt idx="0">
                  <c:v>0.3363</c:v>
                </c:pt>
                <c:pt idx="1">
                  <c:v>0.5237</c:v>
                </c:pt>
                <c:pt idx="2">
                  <c:v>0.4895</c:v>
                </c:pt>
                <c:pt idx="3">
                  <c:v>0.6217</c:v>
                </c:pt>
                <c:pt idx="4">
                  <c:v>0.6295</c:v>
                </c:pt>
                <c:pt idx="5">
                  <c:v>0.6514</c:v>
                </c:pt>
                <c:pt idx="6">
                  <c:v>0.7677</c:v>
                </c:pt>
                <c:pt idx="7">
                  <c:v>0.6351</c:v>
                </c:pt>
              </c:numCache>
            </c:numRef>
          </c:yVal>
          <c:bubbleSize>
            <c:numRef>
              <c:f>Sheet1!$C$2:$C$9</c:f>
              <c:numCache>
                <c:formatCode>General</c:formatCode>
                <c:ptCount val="8"/>
                <c:pt idx="0">
                  <c:v>12997.022988505747</c:v>
                </c:pt>
                <c:pt idx="1">
                  <c:v>36036.28767123288</c:v>
                </c:pt>
                <c:pt idx="2">
                  <c:v>6147.757575757576</c:v>
                </c:pt>
                <c:pt idx="3">
                  <c:v>36195.333333333336</c:v>
                </c:pt>
                <c:pt idx="4">
                  <c:v>5750.290697674419</c:v>
                </c:pt>
                <c:pt idx="5">
                  <c:v>42870.58620689655</c:v>
                </c:pt>
                <c:pt idx="6">
                  <c:v>44077.36842105263</c:v>
                </c:pt>
                <c:pt idx="7">
                  <c:v>5099.13186813186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E162CFB-1449-47A8-AA7E-9E4E360B4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CC891BA-D95C-4EBD-B72F-3DC24C2D7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3F1C70-5ECF-4F54-9841-E2D553B6E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45CD33E-3CE2-49E0-9695-07177AA27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E5BF3C8-D8F5-4F69-BFC6-5955C0994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FE37CCB-5148-4BF5-87CA-633261CA4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1F57A41-DAC7-4C60-8C8C-F3988DCDA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5A2CE6E-53A2-4CB5-8F80-6A8B2EA9D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4E0DA39-E8BB-4BA4-BBB0-C44AAE33F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E035CA5-E795-467A-B5AC-9CDA9CFAD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051E0B6-4148-4422-9781-C5C124EFA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5B0BA4C-5A91-4D8B-B8D0-81E03D50E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9E29C59-22DA-4081-B53C-5779B63A7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9F09269-45D5-4B0B-9196-9B82C6FE6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B5F016F-AE8D-4422-841B-5A89409AA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26FA0D5-CEAA-458F-929B-59A546473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3FEEFEB-3A77-4F48-A464-1F42EE49D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4506782-1DFE-4078-81BE-B889F2CFA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C7A6587-8C1E-4F46-B769-EE2AEB65F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B5CAFA6-88E2-486C-9C2D-32106304B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69ADB90-C3EA-4A80-8680-572B22156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3E4FE52-6514-46A8-B4C9-9BA2F6D53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FD18E37-B420-49EF-AE91-2F57EFB04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210907B-906C-4347-A62F-740A99549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AA11148-28A9-4F11-B273-BAB63E2B5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4086461-7A56-4CCB-949E-43360D279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8D535F0-9438-44F0-9F9A-9ADC0811D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3C3E8E8-919E-4F8C-9AAD-3B1B580AE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A6997BA-A778-486D-800F-6FF42E6F9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29E140A-1C8D-4A3A-97C1-D31BD3290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3867E67-9112-49BE-9EED-32DC6DBE7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E7E746A-D62D-4F97-B245-805E9E701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287696D-7666-4CB0-881B-CC5746F92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7CE0A0A-ABCE-4CDE-ADE2-949951CD6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01F7DEB-0B7B-4F10-AE43-69E3B5515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E48BD24-4E09-48EA-AB47-9249E6BC1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BD7F281-A641-4A60-94CD-527692970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AE12368-6C47-42C3-A82F-39791EF7E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B90D842-AB6C-4A26-8AD2-476952D53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B7B9E67-CD02-4AAA-BE7D-78B4F4523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59E9EE5-CAA6-495F-B93C-2611175D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53E4A81-E392-4E8C-B37B-CC25B1DE6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5A64662-B8C6-40C9-9651-EFD432AE0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FBD596C-17C5-421D-A910-22D183ACC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5CF0180-0FEE-4213-BD0D-9A3AE0B5C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276D22F-53B4-45AA-B0C4-21F58A195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EE949E2-219F-470B-8FA2-03EECBA1C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9B05A95-BCBC-48F6-8DB9-E5D6D1BF6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104E319-DDC9-49FF-A61F-47FB045CA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B9EBBD4-31F7-4C30-8D74-AE4F687DF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22FC9A7-7C48-4B8B-947B-6CA5692A0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BE2339C-8E1C-462B-A007-1D75EBC2E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997B39C-E713-4455-AE4C-3ED681BB1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70E04E3-8AC5-4122-9EB1-AE40CCF74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3090A15-B21F-4A3F-B3C5-7E1510D65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5D395DD-A6A9-47D7-BFE6-7E0538378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F0E909B-EC49-4A0A-99C3-7946B6348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3</c:v>
                </c:pt>
                <c:pt idx="1">
                  <c:v>0.4467</c:v>
                </c:pt>
                <c:pt idx="2">
                  <c:v>0.5471</c:v>
                </c:pt>
                <c:pt idx="3">
                  <c:v>0.4478</c:v>
                </c:pt>
                <c:pt idx="4">
                  <c:v>0.2977</c:v>
                </c:pt>
                <c:pt idx="5">
                  <c:v>0.4032</c:v>
                </c:pt>
              </c:numCache>
            </c:numRef>
          </c:xVal>
          <c:yVal>
            <c:numRef>
              <c:f>Sheet1!$B$2:$B$7</c:f>
              <c:numCache>
                <c:formatCode>General</c:formatCode>
                <c:ptCount val="6"/>
                <c:pt idx="0">
                  <c:v>0.4911</c:v>
                </c:pt>
                <c:pt idx="1">
                  <c:v>0.4934</c:v>
                </c:pt>
                <c:pt idx="2">
                  <c:v>0.4798</c:v>
                </c:pt>
                <c:pt idx="3">
                  <c:v>0.5166</c:v>
                </c:pt>
                <c:pt idx="4">
                  <c:v>0.0104</c:v>
                </c:pt>
                <c:pt idx="5">
                  <c:v>-0.0026</c:v>
                </c:pt>
              </c:numCache>
            </c:numRef>
          </c:yVal>
          <c:bubbleSize>
            <c:numRef>
              <c:f>Sheet1!$C$2:$C$7</c:f>
              <c:numCache>
                <c:formatCode>General</c:formatCode>
                <c:ptCount val="6"/>
                <c:pt idx="0">
                  <c:v>76941.12121212122</c:v>
                </c:pt>
                <c:pt idx="1">
                  <c:v>29486.863157894735</c:v>
                </c:pt>
                <c:pt idx="2">
                  <c:v>32042.24742268041</c:v>
                </c:pt>
                <c:pt idx="3">
                  <c:v>33695.24731182796</c:v>
                </c:pt>
                <c:pt idx="4">
                  <c:v>14956.69387755102</c:v>
                </c:pt>
                <c:pt idx="5">
                  <c:v>32799.7373737373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AD4C16B-2AAB-4468-B7F1-7B7E8B6CC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353ACD6-ECCB-4263-857F-9BC84BDAC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5E60BE7-AA5D-4C1D-8A5F-3D3ED803F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1C1F261-6412-4BC8-B59B-16B057BE2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E77D2F7-DA43-4CAB-91F8-9AEECAB38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70F600D-F76F-4EBC-9144-1394C0297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93744BA-80BF-4DDC-ACD7-63781BADF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4F91BBD-2DDD-4BC9-B3DD-ACB4529E4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9E66587-1085-4FF4-8A43-7C571A126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ABAC989-BC56-4E31-8E31-C1175A227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F3369DE-04F1-40EA-A80C-4501DCB6E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FEF6973-7A63-4B04-8959-C7D50E75A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19A61A6-1D5B-455D-9609-508F6A475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21B6A9B-149B-455A-9B58-659B4D03D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FDE9705-F857-4A22-9680-B6E94E2E5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CC633E8-C9D5-4DD4-B414-E27ECC771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8AFFD9B-5869-4BC5-99DA-ABAEF78A1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CAF4E49-66A5-40D8-AADC-12C392C5B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6AD8E0D-6E6B-405B-A8AE-3D227E8EF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4BAC47E-C7EE-4245-BFAF-8C5065605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EF02B27-AE05-4391-87AF-17DF645B9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2D31FCB-AA6F-45D8-9053-1C72D51FF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6236466-F563-4F79-BC35-75130311B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C008D26-40B9-4B64-9A69-BDD955C2E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8FE2AC3-F0D3-4747-9818-D6679E4DB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3B44BE8-7F15-4378-B73D-40A21E0D9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04EF9E0-6626-410A-AE19-A5577F6DE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3552F39-208F-4A1C-9ED5-64B32ED1B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C38620B-E311-4F50-A163-F5022C8F2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540CBE4-F09F-4718-AF8A-82837DC40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922A4B4-CF42-4A99-B5CA-2395F48E2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0CA9F4C-D727-4DC4-A55C-C91A485A1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D220DEA-B3B5-4E4F-B492-D96BAD9DF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FCD614A-B68C-44BD-BCB2-E17B84069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30FC447-B3DA-4EFF-9A85-86795EC3C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D7CDBE7-ED46-4C8D-8731-52F5B7CC9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10D5E43-2559-4AA3-9189-AE626471F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111A763-7B70-4A69-9ABA-66B3ABC20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6E8C211-BAC1-4E5C-A921-63A156D9F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33D1861-7F37-425A-A24F-301067EFF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C3ADE87-FBAA-4AB3-825D-79BC99175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119D0B5-C1D7-461F-9F9B-30C0463F9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3A038C8-4750-458F-B725-D7D31559C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A8BE51B-33AA-406C-9EF9-94A4BCACF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5AEA1D6-299E-4BA5-B2BF-991527E12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E4B5F2B-11AB-434B-B679-80DFE62AD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71EB959-3BB8-4F7A-B44E-3D5BF8438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70953FE-CF4B-4B3F-B87A-6346AB584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659DBC2-F0B5-4671-B2DC-A1F1A96B6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095601E-57B5-4B0E-A280-A7C8F958C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1AA9515-33E0-4684-996F-E2AEADF94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08977D6-106E-40C5-92FD-FB7A989E4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596E589-A111-4C8E-92E3-8A1BEA646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0141237-3D66-4AA7-82C9-11AAB03B3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C00F243-40E0-496B-AF46-F33C61EF2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9D96BFB-22AB-43D1-A914-4D5E258DC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C5758E7-1B75-433F-A85A-2466A7895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2917</c:v>
                </c:pt>
                <c:pt idx="1">
                  <c:v>0.3711</c:v>
                </c:pt>
                <c:pt idx="2">
                  <c:v>0.3585</c:v>
                </c:pt>
                <c:pt idx="3">
                  <c:v>0.3918</c:v>
                </c:pt>
              </c:numCache>
            </c:numRef>
          </c:xVal>
          <c:yVal>
            <c:numRef>
              <c:f>Sheet1!$B$2:$B$5</c:f>
              <c:numCache>
                <c:formatCode>General</c:formatCode>
                <c:ptCount val="4"/>
                <c:pt idx="0">
                  <c:v>0.2544</c:v>
                </c:pt>
                <c:pt idx="1">
                  <c:v>0.372</c:v>
                </c:pt>
                <c:pt idx="2">
                  <c:v>0.6039</c:v>
                </c:pt>
                <c:pt idx="3">
                  <c:v>0.5305</c:v>
                </c:pt>
              </c:numCache>
            </c:numRef>
          </c:yVal>
          <c:bubbleSize>
            <c:numRef>
              <c:f>Sheet1!$C$2:$C$5</c:f>
              <c:numCache>
                <c:formatCode>General</c:formatCode>
                <c:ptCount val="4"/>
                <c:pt idx="0">
                  <c:v>1094.75</c:v>
                </c:pt>
                <c:pt idx="1">
                  <c:v>472.6</c:v>
                </c:pt>
                <c:pt idx="2">
                  <c:v>999.2</c:v>
                </c:pt>
                <c:pt idx="3">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DED9F01-D34C-4B79-967B-80C837FD5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4D8C7AC-FEEB-4CB2-A9F6-DB7042E68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6182CB6-571E-4500-BFFC-13B469955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C01B3EA-FB04-4E7E-B2BC-7EEC8A4D6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24D9835-01B7-49A9-9E70-ACD5FF897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536773E-A59E-47F6-A8A1-903FAA65E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7F24B6D-F8C1-42E8-AB1E-B4D985E76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FA0D413-5645-40B4-A1FE-6CB6C44FD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A9778C9-C972-4A26-8289-2DF793E38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7BFBC73-FCF9-4A04-A82A-41BE72D5B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AF20AB0-9D8A-4687-A869-292EA27E0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D79D67C-C302-47AF-B0C6-35D5B154E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DD2C792-95CA-443A-9461-FFEA1D54B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7176558-B5E4-4246-9EE1-3D39AB1B2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3E262C8-93F6-4C1C-A0E0-64F4D601C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0D9E630-B2E4-4D6D-81B4-81D0A1570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39370A8-57F6-4DE1-942A-DB667FD6E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EA44B0F-5511-43B5-9193-1646006A2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9F6CE92-B9C5-421B-A7B4-0D516B6D1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5F67282-5C37-4867-A7F8-01E2B62DC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ACE1C06-555F-45EB-B961-EF01503BC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101815E-E43D-4377-9A34-CF90267A0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7E1FBD0-BE4D-4628-8613-A97319F47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8BC1406-C5A4-4323-962A-81BFC9D36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4EE4D80-4A19-4326-9C8D-7054FE2DA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01A3F57-7206-4C43-9F55-D7E256324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ACCEB03-EDE9-4710-A202-19D32031E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F1AB2C3-BD75-44DE-BCDB-82452FF09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191CA10-0A6A-4E3B-B79C-E9DF94125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C270EE2-2E6F-468F-A396-EF58A72F6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D7BE7A6-7290-442F-8B38-141398421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284D898-EA56-4514-945D-DCF1A89F1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6FF4D06-ACFE-4C83-A4DD-EBE3D98C7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8A6BC45-409A-4A50-98D6-5073DDE36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1F69DF7-ACB5-4223-89FA-226D8DA50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2887621-8733-4A71-90D2-E2C9BE46C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D89B598-318D-4AF1-87E1-54EE548B8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5DD36FD-23AD-470B-B64F-14218961C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FCCB9AE-EE9E-4C21-92B9-6E23C6CCD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36826E2-08FF-4694-BDFE-F0A6A4BC5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23DB793-0D2C-4AD9-92F0-99D0E7CA1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210ADAB-AC48-455E-A715-0558E70A8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C6300AB-34AA-4DB1-902F-A7F3CB3D9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FF0600C-C873-4F31-984B-E151D48D7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D8D5427-6C96-4123-AF23-23AB61C68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87B1E08-9778-48FD-A2EC-53C5A54EB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E457E24-35DD-49BA-A4A9-1084EC23A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2A9DB84-3CE3-4CC6-8685-9FD4B5221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07F5BE1-2D1B-4264-A829-74D01DD58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0008F0B-5AF8-4C0D-9DB6-4A3D8A9E9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3C86CB2-DC1C-48A9-BEF2-85AF8BEB6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72D76C4-5B45-4FDA-9266-0D7B8C67F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19A1FEA-4225-4B8E-A7D2-CC539FC1C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79C4E2D-B85D-4925-AA6C-8D5536DF7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08EE889-46DA-4DBA-A38E-7F38FDBB8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133CBF7-9917-450C-81AB-D5CF213FF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601B66A-CE49-44B3-8FF0-C3BEC5CDB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75</c:v>
                </c:pt>
              </c:numCache>
            </c:numRef>
          </c:xVal>
          <c:yVal>
            <c:numRef>
              <c:f>Sheet1!$B$2:$B$2</c:f>
              <c:numCache>
                <c:formatCode>General</c:formatCode>
                <c:ptCount val="1"/>
                <c:pt idx="0">
                  <c:v>0.4195</c:v>
                </c:pt>
              </c:numCache>
            </c:numRef>
          </c:yVal>
          <c:bubbleSize>
            <c:numRef>
              <c:f>Sheet1!$C$2:$C$2</c:f>
              <c:numCache>
                <c:formatCode>General</c:formatCode>
                <c:ptCount val="1"/>
                <c:pt idx="0">
                  <c:v>2192.54285714285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E058D4D-B26A-4234-BA46-257953AC1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441C72E-6698-488A-802F-01002C72A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B6CFC3-7BA7-4853-B985-55A278D94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3DBA13-18E6-421D-9843-BFA57FB74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A136D37-93B2-4462-A0C3-6617A77C6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EE44327-4703-45AE-B889-D97A82713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14B8CB1-D52A-428C-94BC-D320E34A8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0A6FCA-AB3D-4BEE-92E4-60A6E42C9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B2E3AA2-EF49-4BFB-A592-CDEF06561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6E74ED9-01A0-4D46-A99B-8FB82BD83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CEA285E-FF1C-4CF4-A9E8-2C68CDED3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7A3F9D4-3172-4236-A187-1601128CB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9E779CF-F736-4594-B1D5-72F370513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B8395FE-860A-4175-97BE-343A88B2D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3F79C91-5DF2-4A93-981F-CB84D7A41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A9D99C7-98E8-4E26-958E-C0F4BBD36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A32E0EC-8E70-4ECD-96FD-F9D549604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9606EB3-FF38-4FDB-91E1-06630E98C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9BA7327-E155-4B21-B93D-EE0781EEE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0857636-0899-48E9-BE3F-38E4C5932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341E054-81C9-421D-A70D-DBD8C1615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95E7003-02F4-42B7-87E0-85852D7DF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0AC62BC-FB2F-498C-8150-E65C2EB8A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9D61A14-7FBF-40FC-963F-FD751DB03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33788B7-6FAE-4119-8F93-7B369DBE1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D87E64D-6F75-45AC-81BF-D000A59EA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29AAFE9-DAEE-4A31-B16D-D62B7B883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1440C31-0B81-4742-9179-7E22186D4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12D8F33-23B6-496F-82DE-279D83B2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C9A85B4-8B35-415E-8EDE-424D4AD99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46E46DD-02F8-49DA-9B68-4A5901B53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CA68D14-3EEA-4932-A8C3-DA46333B3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FCC0032-FE97-4C3B-B914-A5E544CC9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991A235-26DD-414B-8090-ACAFD8C1F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D9E0ED0-C7A8-4F7D-9575-B3CA77BFD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D736A51-C397-428F-A764-77D054428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94E2FDA-F5CB-44F3-B340-EFBF02795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2AA962D-DC32-4721-83A8-E2ED347ED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243D8AB-097C-46D5-9C1A-256E098A7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93DBFDC-3E34-4A77-9AE0-4D64B3F23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BD15867-E782-4778-8217-763D170B3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041B02D-DCD9-417A-83EE-AAB2EDBF1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1E3CA69-B2E9-495E-875B-F1CF3F8F7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5D7B992-D3E0-45EC-BC39-259457581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04F8279-E674-490D-8926-58979E491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CAEBAAD-8FE4-433D-9B8A-5557CA6E2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3EAF9DE-3D22-4D26-BA1A-603E0217D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6997CBA-1834-43C3-A488-A8D33F584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704BE4F-41C9-4643-A427-422D514B2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A1E91A9-FCBA-439A-9B4C-B44A12582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DCAB3DC-6A81-47EC-BAD0-684951131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08D4A23-36ED-4804-992F-27FA694B0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6B7989F-3876-43F4-B434-AA1DC3044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E414122-9EED-495D-B8E4-717C3CE0D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1D5D025-C069-4126-A9BF-A132C06CB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B952198-FAA8-4F96-8933-3178E2F2F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4C286D3-D2C4-4CEF-ADC1-0195441DA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6583</c:v>
                </c:pt>
                <c:pt idx="1">
                  <c:v>0.2228</c:v>
                </c:pt>
                <c:pt idx="2">
                  <c:v>0.3666</c:v>
                </c:pt>
                <c:pt idx="3">
                  <c:v>0.3679</c:v>
                </c:pt>
                <c:pt idx="4">
                  <c:v>0.3918</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1414.0</c:v>
                </c:pt>
                <c:pt idx="1">
                  <c:v>14923.912087912087</c:v>
                </c:pt>
                <c:pt idx="2">
                  <c:v>6680.846153846154</c:v>
                </c:pt>
                <c:pt idx="3">
                  <c:v>19149.166666666668</c:v>
                </c:pt>
                <c:pt idx="4">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6C605D9-2D5B-4C1C-BEA3-48C7C98A3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249425E-8EBE-47A9-A7F8-08834AEB2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8F5B8E1-6793-4F0C-A5E3-97A1B084B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3727166-BFB2-4EAF-A122-816B2B6CB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12F03BF-07BB-4230-8308-0012EEF1E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755005D-8087-4E7B-B786-D86EA5026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BD41567-4083-408A-97BD-4D792CEAA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ACB00FC-B05A-466F-8596-1D64DFB47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56</c:v>
                </c:pt>
                <c:pt idx="1">
                  <c:v>1.3248</c:v>
                </c:pt>
              </c:numCache>
            </c:numRef>
          </c:xVal>
          <c:yVal>
            <c:numRef>
              <c:f>Sheet1!$B$2:$B$3</c:f>
              <c:numCache>
                <c:formatCode>General</c:formatCode>
                <c:ptCount val="2"/>
                <c:pt idx="0">
                  <c:v>0.3656</c:v>
                </c:pt>
                <c:pt idx="1">
                  <c:v>0.6549</c:v>
                </c:pt>
              </c:numCache>
            </c:numRef>
          </c:yVal>
          <c:bubbleSize>
            <c:numRef>
              <c:f>Sheet1!$C$2:$C$3</c:f>
              <c:numCache>
                <c:formatCode>General</c:formatCode>
                <c:ptCount val="2"/>
                <c:pt idx="0">
                  <c:v>13456423.158500016</c:v>
                </c:pt>
                <c:pt idx="1">
                  <c:v>5594958.6237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97599999999998"/>
          <c:min val="0.23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08468477973"/>
        <c:crossBetween val="midCat"/>
      </c:valAx>
      <c:valAx>
        <c:axId val="1011451359"/>
        <c:scaling>
          <c:orientation val="minMax"/>
          <c:max val="1.14588"/>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9785269124007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E7DD58F-293F-4BF0-963F-52483EA31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A5281DB-2477-4E49-84E8-D5186CAAF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533EBED-B155-45E6-B2F5-A403310CD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5A2683-F852-4F5F-916D-FC11A1510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9952414-835E-495F-9AEC-5BF8A946A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E414533-9FA8-4B24-8151-586E8E980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E279C8E-3759-49B9-B0F2-F95F12D59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441B00A-2D5C-415C-97AA-1F548643F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C409C95-58CA-49F7-B26C-3EF1C77E3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C6A0A85-9437-425E-9153-0921091EE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ABEDE95-81C9-49FE-962E-714BEA19D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F2B32F1-E756-4379-BB00-791E95AD4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556FFDF-FFDD-4BF1-96E8-D2459EF26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5A6979E-C1AA-41A8-9164-205BF2166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FDBADE2-4950-47FA-BA50-B141DB19F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3B84E1D-15C4-4882-A9A6-FA68BA715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A34879E-0BB8-41D4-A7A5-063AEF1CA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7A7DF31-9ADE-4A06-8CA8-30704F0B1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42624EA-B8F4-4BD7-BD94-E410182EA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5122950-D72C-4F50-A7DB-0CFE309A2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E53C4AA-9BC5-4D78-9942-A4B895F35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825C9D2-E3F2-48E4-B427-370781385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884DA9B-B487-4953-A778-4FF306D3A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39908F4-2D92-4211-A275-5E18BF419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69D489F-8D6A-4A07-B2B7-273749102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B207D41-408E-4A44-981C-315299954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7FAD3B2-23A6-4C0F-8C4F-4651396DC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80E580B-9442-409E-9CF8-F010962D1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3B35C54-00B9-4403-87BC-F9BDA12E3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F421EB1-6313-420F-996F-899A40F83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D123285-ABCD-46DA-84BF-4AD925DA3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55970F2-E2C6-4FBC-83B0-7C419079B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89EC254-1E71-494E-906C-73BF3B8C3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D1C9236-82E1-4F6B-AF98-91DAC2385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C939A7C-3A6A-4243-A86A-66622C007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EB60D86-A2AE-44A3-BA59-973DBBB00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ADD3657-28E7-4122-A4FE-25E8C411F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50279DA-78BD-444B-8925-9C01CD78F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D288690-E625-4214-9CCD-36B051A3B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8EDD997-0CE0-4645-A6DA-AB0A82AAC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10881AE-B1E2-47B5-A86D-E1B18D287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722143B-AB0D-4CE9-9982-AB9CF6886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3CCEA99-7888-4D32-8D94-E087CD778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1FDE7D8-7413-483D-8F31-9A1020BA6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FF3947A-4BAC-447C-BE81-7E6D8A676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79453F6-12E9-431B-925D-453B61483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C0D2AFE-DD1E-44C8-AB3A-F0098299A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0A22F1C-7A37-4840-9238-728501460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E3A8886-7D44-42D6-A757-A94A88238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8D9A748-ADF8-4921-A604-448C46655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BDDD14C-2E2B-4EAF-99F5-2B26FEC49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0182AAC-0715-46B9-B08B-163EF0505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077F540-E4B9-447D-A44E-91C2F9D82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D4DB473-0AE7-450D-AFA4-06505876A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F96745A-C3B9-423F-A578-D64AA15B1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504DC53-E60B-4A74-A6D4-5A232D9D1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A3D8EBD-45D4-46BE-993D-B7E341016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26568.49350649350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F0F0DE6-19E1-42BD-9A02-081393507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D123269-3DDF-4147-81DA-B9DF78224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A23DB01-9EC1-45A3-9E7E-1BAC94739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DA7965-BF26-4D96-ACE4-0BD209A7A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7172870-6D50-41BB-BFEA-BE0138A0A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CA78FAA-FBD0-469F-9FD1-2713AE61E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12CF81E-4A32-4D0A-B1AF-827A8D843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EA8105C-303C-4F84-9F7F-55875B53B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B6F1B75-1072-457E-AB34-310665470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1BB990E-B295-4ECC-A1F1-8B767B721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45D6312-04A9-407F-9531-186AFA3EB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90B836B-8284-4294-AAF7-36927D0FE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145F8BD-89E9-4A46-A77A-BB554E514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35EE65B-A64B-4AD5-AAF9-719DDC9C2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D79A797-F608-4CDA-986F-9F1F042E8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43E4F49-E091-4F76-84B5-37EEB15DD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E02D23A-EECE-4974-9149-3FB016F10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39E9F93-5532-48C2-B184-65D8551A3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8911B8A-D777-4341-8140-DC21FEBE8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A2DC808-8C40-4A4E-A9AB-A6A6D0621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83A10BF-BB41-4D26-94B5-FD4BA2A0B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85ADC2D-3689-4E02-AE2A-4F1777199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E103EFF-7980-4E87-A14D-04ACED797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C5CC166-1A6A-41FD-8D52-355938D50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6A03F90-928D-40CE-B1BD-6D78922BC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1FBFBF5-BC1D-4141-B4B0-4372CE033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1F8D271-D271-4D3C-A08B-48439E94A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3D85325-8D31-4F29-ACBC-70FBB0E31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B02CF8E-F5F1-46D6-AAF9-CC975CCF2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2AB2679-7314-40D7-A04A-00F0625F2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A3951A6-47B4-4EA5-96ED-84EC6823C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8D122FF-DA81-4A5A-A0DF-8C8293D9E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36615CA-CA74-42E4-B5DF-0C1F4F296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8551E47-0968-418A-AC4A-8292A3390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CCBD8F9-FE0B-4875-A4FE-FD2658F07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94651B8-356D-4EDD-B994-59D28B22E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0DE6DF7-FEF6-45C1-9D2B-FFD174762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ABD3EF1-2519-4E7F-9D04-4C3C77161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28E7699-4828-4F89-AAED-7AF3255AC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F585AE0-34AE-4FCD-8DBA-6EED97EDC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3B2C35D-08AD-4160-9E5F-A96D0259D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0D1EE06-CD9B-4B4D-A1B3-64C274B57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8C9666E-E0D3-4816-870B-312CB52AC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F9B2F99-25CA-44D1-9948-456F10DF8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40C1781-C3E9-48CB-969A-1D57DE30F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8C42A68-479E-4763-ACC6-338DEB50B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563577C-B945-40B1-8AE3-24C122F72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5CE6762-D9C7-4472-8199-9453882ED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38A4298-7694-4B43-BDDF-8F2C1FAB7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16925DF-9D46-4FDD-B9A7-B13E9D6C1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A3B0D07-ED3B-4630-ADC1-7B7FEBB9E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342F719-7ED6-4769-9060-AEA09CFC5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36F7BD2-FC4F-4951-99BB-824D3B9C2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13B8EBC-F651-4FDC-B4F5-DE0C6272F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8D04857-2687-43C5-98EE-CBFFF7302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2DE4454-6C7E-436B-B01A-A9E3B48C7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BCBADE2-272A-474E-8015-6E0E672E8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19</c:v>
                </c:pt>
              </c:numCache>
            </c:numRef>
          </c:xVal>
          <c:yVal>
            <c:numRef>
              <c:f>Sheet1!$B$2:$B$2</c:f>
              <c:numCache>
                <c:formatCode>General</c:formatCode>
                <c:ptCount val="1"/>
                <c:pt idx="0">
                  <c:v>0.5307</c:v>
                </c:pt>
              </c:numCache>
            </c:numRef>
          </c:yVal>
          <c:bubbleSize>
            <c:numRef>
              <c:f>Sheet1!$C$2:$C$2</c:f>
              <c:numCache>
                <c:formatCode>General</c:formatCode>
                <c:ptCount val="1"/>
                <c:pt idx="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CCE8071-C47B-4D03-B29C-5FC15BFE8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F637C6D-ED3C-40BB-8558-0578206EE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503876B-C67D-4976-BFB9-4BF2FDFE6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6DEED26-F812-4881-86F9-B1B2A5A29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2870B73-1ABA-48DD-843D-A2B12F454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FE227E7-E8A3-46C7-A7B1-33C092802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1F4F124-4348-4641-832D-5F4E7C6C8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B585270-6121-46C5-BB81-E6D228325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92FC670-3757-47F9-B01C-79463ACF0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3CF7FF0-C74C-4C91-A3C7-669E75318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046B441-F144-44AB-9955-0632F8706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B966397-A9DA-4086-9B08-9BE4CC9BE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9F357D6-F545-4119-BE7E-438BD1D72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05F972B-6902-443F-8BD8-060BD391A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37C022B-3087-4115-95F2-334E1C17D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3DC105F-D5F6-4217-9AB9-7C18C588B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F9369FD-141E-4A55-9827-432FAF929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47256B1-743E-4DB8-9663-DB243EB2F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4BF26B4-F4E8-411F-9804-E516E9F89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358ADB9-139D-43D6-83AC-D49DFE445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39164D4-D3B6-470C-B115-022A6D17E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7580F91-11D2-4136-ABBB-0A9FF1134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54DE8EB-869D-4E82-956D-8FB912B43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68D4A18-384D-473D-998F-1045CB0BB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2BF7598-F9BD-4E5D-9603-CD62501A3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3AC844B-9A94-42BD-A15F-F1C15F99E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9220427-17F6-4B03-8D44-04FB71B66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BA067A5-47C6-4479-A139-83AE6947D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B5FB89F-3D18-45DF-B1F6-75F5E0A0F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17D1749-F738-4596-B6B3-55FD9FC64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F180244-87C4-4639-8ABF-E092BCCDB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052292D-9FCE-4E4B-AFA8-3BD6A5BA5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80529F2-9059-4E5E-9038-481EABA5B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92BF40A-E693-4D68-9218-9C837870A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AED9C65-D238-4E67-BA44-BE3101783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1D42B97-FCEC-483B-9E66-672CF1375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2ECBA08-25F7-442F-8BE0-374343B5C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C2C146F-B118-4777-B381-294DFC070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3F2ABEA-C8FC-4238-B87F-3A7D963F1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1BEC758-28B8-4CD7-89B9-9E535F00B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AF40CFA-FE31-4F64-8D5B-49A416E29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9F93DB9-1060-42C1-A966-BC7A269A3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334A185-F0E3-4B81-9EFC-FF6CC9377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756193A-950B-40A0-9D3B-67D7E2978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98B9FB3-4B45-426C-8D62-9FDD0A541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96B1DC6-28FB-4065-A3D4-CE267F7CC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B89F43C-E914-4A94-BC83-2A7FDBBD3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98DEF16-9DB0-4880-9D2D-02600677A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AA02916-9C1F-4AE6-ABE4-BDE18863B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87DB567-993A-4D5C-9A5C-33ADCE89A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97DFC7B-72EA-44AA-A750-68D2A24B0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A5204B2-264B-4D6E-8CA2-8DD446B50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B851998-3B23-4456-B2B3-F4B6683D4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6C94A6E-B575-401A-8653-73842C219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2CE88A3-7A8A-4566-91E6-705D017D5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E83A304-2B2B-43DF-B3D9-A0793CD98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DA6A4F1-3555-4A92-833C-3B093B3D1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8</c:v>
                </c:pt>
              </c:numCache>
            </c:numRef>
          </c:xVal>
          <c:yVal>
            <c:numRef>
              <c:f>Sheet1!$B$2:$B$2</c:f>
              <c:numCache>
                <c:formatCode>General</c:formatCode>
                <c:ptCount val="1"/>
                <c:pt idx="0">
                  <c:v>0.4199</c:v>
                </c:pt>
              </c:numCache>
            </c:numRef>
          </c:yVal>
          <c:bubbleSize>
            <c:numRef>
              <c:f>Sheet1!$C$2:$C$2</c:f>
              <c:numCache>
                <c:formatCode>General</c:formatCode>
                <c:ptCount val="1"/>
                <c:pt idx="0">
                  <c:v>3302.69811320754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D025A59-A907-4650-953A-41F9A6301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33B5960-561B-438D-A357-831274EBD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B23E0A-DCE9-4D08-A283-F698AF4E0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EA060E1-FD87-4866-ADEF-73D48B617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E6C0246-8F83-4459-92EF-BFEB43D9A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05A4C60-2DF0-4EFE-97EA-03A7AC975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DA7A509-7D3C-4AA1-A2E0-D90E7E464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C87FBC2-F674-440C-B090-7D736C01E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206DDE0-CF60-4480-ACFB-D092E66E4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E540072-1ABE-4C34-9C44-7A42CB4E5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0725E3E-52D0-4CB6-AD21-07B521C21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6A3A0FC-E560-4AD4-BEE5-425DB8863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AFB3B5A-21A2-497F-AE87-A57FE9B64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823E9BE-5379-424D-BE9F-24528ABBD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35D4B13-F523-4A01-AA50-0AC223164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FBF2CDB-A0E3-4A84-9CE6-44FA748A7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749EB8E-F9E5-416D-80B3-EC94FF09E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CBFD53F-FFC3-47C3-A58C-D703D7250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70BA9A9-AAFE-417C-AADB-A41D5CA2C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26EEAF0-930F-4B34-918C-D9ABE6367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5EA19E0-FE95-4847-94C3-09790E0E6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3E88124-D864-447E-AC48-6C0A96976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CF6AD2C-98BC-4268-95D3-A11410BAB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26D3A74-BACF-4580-8BA3-03B14FBF3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C125EE3-D9F7-4F58-8F1F-998BD611C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470989B-8302-4E5C-B30D-FC740A965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1C2BB28-929B-4FA4-83BD-00F9E1EFD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362583F-4FB8-49B2-9ACB-CC02AB199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B9D3E85-771D-445C-9FDD-5B1A4E763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698BBF2-64E4-4FB5-A69A-0D88CE88F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D6E56C0-93B1-4C38-9D13-C493D738C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F3B82AB-910F-468E-8994-72AB3CB55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02EDA3A-B8F4-49E8-9FE5-FAF2F3926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DBC0222-1226-4780-886E-D6CD87C89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77E96AA-049F-41CC-91FC-4C216A638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E7FAA2C-2E61-456A-A7F4-817CEF820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E38C3C9-6A54-45D1-BD14-02BFB30B0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CDC0BC4-C372-46D6-ACBA-5A18DA1DC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03F5C2F-4461-4009-ACB8-A370B8434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FF3B76E-1929-4400-9598-8390A7D99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7129B48-01A5-4737-8CB2-A42980C38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C19DB49-C055-4F5D-97A6-D6AD722DE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6CED7B4-F79F-410A-BA9C-34F9EF179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1170822-6274-48C9-B6D9-39AF27D8F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8A845EB-54BF-493C-B986-9CFC3E6E6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D51667A-9E6D-428A-B396-3FFAE27CD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802EDFE-470C-40FB-A698-1143CA5A5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9ED6D4E-8665-4DDB-8E16-A17A5480B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8D33D98-3E04-459F-8A89-2D56BA05E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7642ADB-7CF9-496F-BAE4-02E3F0E2B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0D4A2FC-BE3F-46FA-882B-462EFF778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ED5DC1B-0181-4910-9F10-C63E23643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EA4D9CF-DD4A-4A0C-A83E-73A50550A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C84035C-4642-4E02-8166-C93F875E6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45C1E4C-4A1F-4DF3-9954-B790DE167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062039A-CABB-4A6C-AFA6-DFBD8B1BF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459A72F-0E82-48C8-B710-2B545F8A2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6831</c:v>
                </c:pt>
                <c:pt idx="1">
                  <c:v>0.223</c:v>
                </c:pt>
                <c:pt idx="2">
                  <c:v>0.3668</c:v>
                </c:pt>
                <c:pt idx="3">
                  <c:v>0.3675</c:v>
                </c:pt>
                <c:pt idx="4">
                  <c:v>0.3918</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1754.0</c:v>
                </c:pt>
                <c:pt idx="1">
                  <c:v>17159.559193954658</c:v>
                </c:pt>
                <c:pt idx="2">
                  <c:v>7625.128205128204</c:v>
                </c:pt>
                <c:pt idx="3">
                  <c:v>21416.964285714283</c:v>
                </c:pt>
                <c:pt idx="4">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4E18831-DD44-4046-9CC3-F5FD8DD09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3F7DE5F-9E5E-4666-A733-FCE604E3D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611BED2-B668-45BC-A76E-5634506F7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F574052-864F-4716-98FC-C5735D5DA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475CB8E-2A77-4AB7-8EE6-FA5391A2F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D6EC219-AA58-4C65-8611-99F40CA2E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50197D3-7FAC-440C-8C6C-47B250083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7FB6176-14F9-4D9B-AC61-802603D4B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B7B6AED-8DE9-4B86-A6E3-304DE68A8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614B9A6-B602-464E-83FB-308BC74DC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C482D12-C500-4371-AD32-88D406131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1BA225E-216E-475D-86DA-9AFF22F09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E9FFA39-8B37-4A7B-8B3B-4FD53D34B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4329D22-264F-46FB-A5A3-D90D8E74F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4E3165C-3794-4140-8F53-0D40F52FD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EEDEA11-2D28-4F90-8D78-800AA279D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6C727F9-2807-4DE6-BE30-EF54674A5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F7124D5-42D4-4D33-AFCD-BEC4E9007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E8E8DC3-F3E8-45C3-9174-B96A976B2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EADCFED-8CAB-4651-90AF-908D8A277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39151B7-CFC0-4C29-9B60-8D1E3760A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088F169-02AF-43B5-9FF1-F42C046DA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BD668F9-DF3F-43B2-9449-163A88561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6FCDBBD-5196-4771-B6D8-9F24BA6ED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38050E9-416B-4D15-9561-37E635D25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5F09424-4B28-4A73-92B1-4CF452FC6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EDAA7BD-4108-43FF-A3B9-08B33644C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B3D06DD-20F4-4F5F-ABE0-FB031F631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4F32847-4D04-46B1-93BA-26093D5A6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527A868-603F-4108-8EC6-2A3E14A32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B002271-BE8E-45B3-847A-7BEF10D0F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2A1092E-9541-4846-939E-C72430D1A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0B10C68-B40D-48A5-85CC-72F614AAC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8DA3D32-D3F3-4687-AE35-DA20D7B4C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A26CCCF-00C3-4B6E-A0AB-EB4903506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D62C5F7-6CB6-4CD9-913C-376918482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FF4DF46-C07A-466F-B19F-37AD69B00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9172D1B-3AB0-49FA-8EC7-E6828C659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3516693-EE31-4D12-A409-3D51BB95B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A61FCA5-685C-4D50-B7CA-799FF0110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395C24A-C942-4A4C-93B0-090A3EAC3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CF1D43D-7FE7-40EF-8212-A3856F52D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8591AAF-D69C-4E5F-B1BC-C8D31DB30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0BDF5A2-C469-41B4-9597-8FD966A54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DE1ACBC-3119-4F0B-872D-2576FC5F1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1657D98-0457-4856-B312-01185465C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B481C93-147E-4C10-901B-6D4D7CF9B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42844D4-148A-4A69-A388-7266DBAF2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6651D30-9868-43AC-AC3F-A031715D1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414B44D-DF52-4676-80E9-DEB53D374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77CD05F-B164-4C21-96E0-BB5901104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F367CB6-0C2E-417A-AAEB-D38085E09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89F0F7A-7558-4D6D-8333-D40BF8E6F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744EFAA-EEDC-49FC-8E3C-4B91A4788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439912A-EA45-4B55-9CA1-8120057B2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DB9B1B4-5AEA-4533-A59E-18EBD9EC6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BE949CA-9676-420B-B5D4-06F3D4029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31615.11318242343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03EDAE6-1ADA-4FE0-A46A-FB25BE670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5B06E95-B204-4FDC-BA24-18CBD91FD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3FAE468-002B-458F-85CA-29F607FF7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0DFEC1-DF7C-4B8C-B980-41FAC112B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DA1C780-0BC9-4F7A-9E38-19D2264BA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B8354AE-7E57-40A4-A27F-BDBD9B2FA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17B3FB7-0223-4212-B08D-C9B40DB7A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8821C9A-2583-4343-BB4D-21E32D503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A128AAB-87F8-48CD-9929-1C839BBB0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2C00AA8-6F36-4C2E-B708-B56A19C7E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73C2249-FD57-4939-88D4-1CF666B9F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6E51FBB-0B55-48E6-AD3A-0F2BE0328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A0AD288-9B36-4AF2-8AFB-8C0D3A752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89BB924-DB99-4E02-AD13-133F0CF99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167EEFB-91B8-4E98-A63E-EE69D0952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312B643-E4D2-45C3-985D-1CB761707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64CAA18-36A4-48C1-9A9C-D0CD8E8A0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36DE1D8-6994-414A-A104-67A06409B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DADD2B9-74C4-43B6-8D74-F7ABB6CC2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E6B57D2-6098-43EC-A1CF-EA310941F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F3A2E78-7D55-4CD3-A065-EB7818783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BB5478F-9E07-44A0-BCDB-F72BCBB3C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8F6BEE1-2FF1-455E-B67C-4EB95DA56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87C6044-8F07-490B-9835-2B1D13D29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2EA9693-B47A-41BC-9270-0C90E6E50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39DF88E-2398-46AF-9F10-F4A98FFDF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1BD7256-6170-4A16-9B80-FB72F3347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78A7C8E-B3A0-4E4D-810D-C1387F1B5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3452332-0BBE-4AC5-8257-B84997F63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A4E9C67-43E2-409A-AD0C-75134E722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7954924-7CA1-4903-A06A-CFA59FC1F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8D57ED7-DF95-4864-804C-E2A466C73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77212F6-4A57-4391-BA13-3BFE22857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1CFEF37-4419-45B5-A2F1-791F9B2C3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1E6B65F-C6E8-4D67-AF54-4E0DE0BCE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8AB0C1C-DE1A-441F-BCE7-58250D42C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61246B8-DB11-4BA1-B443-A7380D4A2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C02EEA0-26DD-49BD-AD4F-8FBD61492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E668308-3293-464F-8302-6BC86DCEB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81BECB1-49A1-4078-BBC7-530186155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E3626F2-1CE2-4F3B-B8B5-3B1C3AFBD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884900D-0797-40F8-B260-54FDD372C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DD43FBA-BC0E-4CDA-B624-A4D675496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7233883-FB91-4A73-B55E-BA224DBBA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D222A08-CCDC-4F0A-AEBC-D006FDB66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725B891-D854-4CBB-91FC-B2663DD5D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3253CD7-3708-4EDE-B633-B7EB7C7E5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9F26014-7071-413F-A1CD-E840C389C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8796DF8-B485-45A8-B7BB-1682BEF1D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A142D01-064A-4241-9F62-DAAC50E91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E087002-997D-41A5-8555-78A1A8A6E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0CAD225-DADA-445B-B216-433E0FB21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076B464-2259-4FA7-B70C-55FED1993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F4C80C3-81DB-4ADD-8B23-C7543E5EA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E8E26DB-B276-4B88-8EAE-4785B7503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818119C-04B5-4FE7-87E4-6E9E8BC43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6FA6354-A397-43D7-8282-57F43BC58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6975</c:v>
                </c:pt>
                <c:pt idx="1">
                  <c:v>0.2203</c:v>
                </c:pt>
                <c:pt idx="2">
                  <c:v>0.3456</c:v>
                </c:pt>
                <c:pt idx="3">
                  <c:v>0.2809</c:v>
                </c:pt>
                <c:pt idx="4">
                  <c:v>-0.6721</c:v>
                </c:pt>
                <c:pt idx="5">
                  <c:v>0.321</c:v>
                </c:pt>
              </c:numCache>
            </c:numRef>
          </c:xVal>
          <c:yVal>
            <c:numRef>
              <c:f>Sheet1!$B$2:$B$7</c:f>
              <c:numCache>
                <c:formatCode>General</c:formatCode>
                <c:ptCount val="6"/>
                <c:pt idx="0">
                  <c:v>0.797</c:v>
                </c:pt>
                <c:pt idx="1">
                  <c:v>0.6948</c:v>
                </c:pt>
                <c:pt idx="2">
                  <c:v>0.7136</c:v>
                </c:pt>
                <c:pt idx="3">
                  <c:v>0.7271</c:v>
                </c:pt>
                <c:pt idx="4">
                  <c:v>0.7947</c:v>
                </c:pt>
                <c:pt idx="5">
                  <c:v>0.6903</c:v>
                </c:pt>
              </c:numCache>
            </c:numRef>
          </c:yVal>
          <c:bubbleSize>
            <c:numRef>
              <c:f>Sheet1!$C$2:$C$7</c:f>
              <c:numCache>
                <c:formatCode>General</c:formatCode>
                <c:ptCount val="6"/>
                <c:pt idx="0">
                  <c:v>897.7777777777778</c:v>
                </c:pt>
                <c:pt idx="1">
                  <c:v>75823.49665924277</c:v>
                </c:pt>
                <c:pt idx="2">
                  <c:v>6750.3125</c:v>
                </c:pt>
                <c:pt idx="3">
                  <c:v>21518.936170212764</c:v>
                </c:pt>
                <c:pt idx="4">
                  <c:v>5644.0</c:v>
                </c:pt>
                <c:pt idx="5">
                  <c:v>68443.0063694267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0CA58F9-0B38-4106-A534-7C4DB13A5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5BDA286-B920-4FCA-B57F-040F0CCD2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939D6B-F26F-4148-A183-1E7A1A692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041CD1C-3A1F-478C-B092-4F378A22F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1703F3B-333E-4B58-80F7-D9FE8735F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3B0373F-A65A-4DDA-9E84-9C4CAFC36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FFE9AC4-0E15-45EA-9839-B8AD230CE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0CE4FC6-4194-4E64-89DB-C7CF0513B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49D7FD6-961D-4E73-93FF-A6572C3EE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7B5EED7-DD96-4C1F-8282-582082BA6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BB0AA78-FF75-4C36-A1F7-49F422001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CF0D8C5-DF1A-46BE-9C11-B77F19726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EA40E2B-2640-4566-8B46-8E00E4DEE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447695B-72AA-4E39-8CE3-276773E36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279595C-0A8D-48FF-9D00-B13C3E9CE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2C7E169-A2A6-4036-980B-7BE9A8C23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18D72F4-1AA6-4187-9825-95E559C5C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4D3D713-0C5B-46A9-9CFF-E754815E0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C4C03A7-F647-4503-A3E5-0A0268FD4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927D51F-8A77-4797-8D01-D2DAEAA94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3732A18-9B4E-44C1-A4D2-ECC7A7224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19197B9-18CF-4119-8FC7-78CBA01B9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99AF28C-253F-4231-9A77-F088E0324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3B1CD01-E449-4FC7-ADC7-90C961534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92FA746-11F6-4A56-AA9F-985200F97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6BA05AC-0F86-4BE3-8A95-2984CE221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937C609-0FDA-4B96-8130-8C021D4DA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B39FC37-1CB4-48A9-911B-60EF29274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95B8C38-B144-402A-BB27-D9A4E78E6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22E61A5-90A6-42A2-BF33-36D7164D9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64CB39A-117B-48F6-96D3-F69263C54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F94475E-14D1-4299-9482-69B621F07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9E922B3-E671-4BCD-A839-DFEF2D67B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6F603AF-5CA0-45E7-886F-BB3318E6E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E10B8FB-2A71-4689-9C74-35141C057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7E4F932-FC83-4843-978C-7B0689373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71CD480-C889-4BBC-AEBF-240F0A0CE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D755A41-FC34-41CD-B5EA-A9090AD72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7E48BCF-E5B1-4DAA-8125-65BA63635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062E327-0614-430B-B030-39CEE43D1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565F20E-6D23-477B-B154-25ED7325C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725E031-F377-4828-BF29-F495C1A34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FAE8A36-9C0A-4AE8-8349-D226B3E20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8DAA33D-A66B-477F-A98E-4B43071D5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4B6B2E6-12F8-415A-84B3-90927D427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D25758F-4D5C-4989-84CB-E9CBB3CC6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FC84416-2200-4323-AD4F-01B044464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1FE30A7-B7A1-4DD1-98C0-6D6E1D1D1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F31CA42-98E1-4494-A17F-DB2EA2E13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5E3BB22-E5CC-437A-B2AC-60554BC64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445462C-C539-40FA-9952-C095E6AED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3F2E585-3A08-4146-BA62-07AA5603C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A5BC18E-CA4C-4974-AC81-438B8FF7E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A3042BE-30E2-4547-8AED-0113D619A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B358025-1CE9-43A6-8243-9B7ED10F0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F8D045E-9C00-480F-8E2C-1EE5A2272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0469D2E-FF3D-4659-A1C1-DE2CDCA1E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051</c:v>
                </c:pt>
                <c:pt idx="1">
                  <c:v>0.3987</c:v>
                </c:pt>
                <c:pt idx="2">
                  <c:v>0.4029</c:v>
                </c:pt>
                <c:pt idx="3">
                  <c:v>0.43</c:v>
                </c:pt>
              </c:numCache>
            </c:numRef>
          </c:xVal>
          <c:yVal>
            <c:numRef>
              <c:f>Sheet1!$B$2:$B$5</c:f>
              <c:numCache>
                <c:formatCode>General</c:formatCode>
                <c:ptCount val="4"/>
                <c:pt idx="0">
                  <c:v>0.7386</c:v>
                </c:pt>
                <c:pt idx="1">
                  <c:v>0.6837</c:v>
                </c:pt>
                <c:pt idx="2">
                  <c:v>0.7091</c:v>
                </c:pt>
                <c:pt idx="3">
                  <c:v>0.7317</c:v>
                </c:pt>
              </c:numCache>
            </c:numRef>
          </c:yVal>
          <c:bubbleSize>
            <c:numRef>
              <c:f>Sheet1!$C$2:$C$5</c:f>
              <c:numCache>
                <c:formatCode>General</c:formatCode>
                <c:ptCount val="4"/>
                <c:pt idx="0">
                  <c:v>779.0</c:v>
                </c:pt>
                <c:pt idx="1">
                  <c:v>10233.439767779391</c:v>
                </c:pt>
                <c:pt idx="2">
                  <c:v>38536.181506849316</c:v>
                </c:pt>
                <c:pt idx="3">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5F504DA-39B5-458B-8ADD-B746600E4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4199DAF-F1F3-4851-A0A8-E2F804110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8FEC7D5-E66B-4313-8C4E-40729D3D0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305881C-50ED-4FF1-B5E8-81E32428B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69CEC71-A6C1-4B0C-875E-8ACACFFFB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D9E829E-137C-47C0-AA73-B862B6061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A5A6618-8881-4696-8C0D-AFC652AA9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BCDAE3B-1D47-4874-819D-4372E9FEB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E2A58EB-C10F-457A-BC02-D4EEC1A93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FCC06A6-69F0-40F4-9CD7-27F6A1642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14F8F92-ADA7-4FED-9FA0-BC222E850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CBDCF75-9DD6-4199-9966-37BC98C52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8951639-FE5A-47AD-BFC2-9D8A3656F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D922145-C677-429E-A599-A67E4A66E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032F2BF-3DCD-4C86-B48C-A8C4D8695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DD2ED72-F81C-4771-B2AF-1802EA87D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C96E9BF-A965-405C-A75E-338743839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3102CF2-36B1-422D-9AE1-45B131A14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36EBF50-EF40-4B64-B372-26428B932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E483DD5-632F-4477-8397-4AD3B23E9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B50B4BC-AD9D-4483-8D43-FD339787A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0BC4417-7C2A-45E0-88BB-8534809A6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742AB98-E671-4671-9EAC-CADAB6CF0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73A19D6-422B-4572-9700-849026DD3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34EB71A-FA42-4D90-A6D3-7339501E0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9A9722B-E670-47E6-A566-D6D7E798C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CF26CFB-4A86-4AB7-8B45-00ADD040B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6C7FCF7-4B94-4EA3-A3F4-D3F1FD83D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3943FCA-A4CD-4A0A-BD0C-A1FECBC55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3A2F13C-BF95-4BCA-BE00-62AB79416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11CBDDA-3839-429E-95C5-A6536B028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721117D-5DD7-47CF-AF9F-1C5B12905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C8F3969-EEDB-4F00-B95D-5827E5F59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56D7974-F3D4-4B53-99B2-1AD28AD8E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88261E6-26D8-47DF-922F-4EBD88917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5623006-EE0D-495A-90CB-D62B8376A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BB7244D-1B62-4F87-B677-BCCBE740C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1612F37-769D-4BE0-919D-2EEEF9130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026A535-1787-4FD0-926C-0B24F195B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6B6F1A4-0DFF-4584-8A49-2DE2C8B46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A20C1E5-29AB-47CB-8B2B-2270C9E76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DED7654-7944-440A-ACA0-8CFA20046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EA2F33F-2F56-46D0-A076-52DC6FBBC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8A25373-A8F0-4147-92F5-44201DF97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ECC22E2-7FAA-4EDC-8006-71C1917FC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EA2DF0E-FED1-4E4A-93CB-D9E5C6331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6673FB4-20CE-44C7-80C7-097C688A6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4CC5D6E-639E-4647-8B03-C1043BBD4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F9F7F35-DD2B-4CFE-AF8C-B49C244EA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187D6B1-45C9-4E52-A382-CAEEA94F8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DC1D153-D99C-41BE-85C5-4C38CDA78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9619D5F-D4CF-427B-AB2B-3AFDCF061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A24646F-D5D7-4721-8619-B11584BA8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267DDEB-C69C-4BC5-A6E8-78511C087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58316EE-A45F-45C6-BAEA-45A95CBBC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07D5125-A11A-4285-A6F7-0EE123918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B82F232-7C29-431F-A49D-3BD93B825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194</c:v>
                </c:pt>
                <c:pt idx="1">
                  <c:v>0.2027</c:v>
                </c:pt>
                <c:pt idx="2">
                  <c:v>0.3207</c:v>
                </c:pt>
              </c:numCache>
            </c:numRef>
          </c:xVal>
          <c:yVal>
            <c:numRef>
              <c:f>Sheet1!$B$2:$B$4</c:f>
              <c:numCache>
                <c:formatCode>General</c:formatCode>
                <c:ptCount val="3"/>
                <c:pt idx="0">
                  <c:v>0.695</c:v>
                </c:pt>
                <c:pt idx="1">
                  <c:v>0.7269</c:v>
                </c:pt>
                <c:pt idx="2">
                  <c:v>0.6906</c:v>
                </c:pt>
              </c:numCache>
            </c:numRef>
          </c:yVal>
          <c:bubbleSize>
            <c:numRef>
              <c:f>Sheet1!$C$2:$C$4</c:f>
              <c:numCache>
                <c:formatCode>General</c:formatCode>
                <c:ptCount val="3"/>
                <c:pt idx="0">
                  <c:v>5275.419354838709</c:v>
                </c:pt>
                <c:pt idx="1">
                  <c:v>1055.75</c:v>
                </c:pt>
                <c:pt idx="2">
                  <c:v>4560.02531645569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9D3FB32-7888-439B-A703-16CBF3E44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4AFA66D-2AA8-4AA0-B84B-5B0376140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1DDDD8D-1D6F-4AF9-8E77-C557D9952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02B6AAE-E1E8-440A-8F78-E623C82EF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1D93602-8BD7-492C-AF58-E0C7E29C8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BC0D424-253C-46FF-B98E-6379CF8A0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4B5AF82-2422-4804-9F73-65D3997AD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342BFAE-99FC-4108-932C-FC1350190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2C5AE50-3A1F-418A-B4FE-30003BF96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2C145F9-C56C-47A5-98B7-EEFE5BA95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62B3085-49FB-4FCD-A077-CBBBD28DB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2E9CC17-2B87-4A3F-B679-26E597A41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1633BE4-4FE6-43B9-87A1-358C5C9B5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376D239-7FC3-4A9F-B7F0-33D312062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508BAA5-5F49-4BF5-8A4E-57946CE90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892ED35-3696-42CC-9186-7C8D1649A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21ABDD7-93C4-4DEE-A183-7D1FE7455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D69AEB0-1D7F-448B-BF77-BCBD6B506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CFA28F9-B0A3-46A6-9B90-8D4339ACA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AE373DA-F30E-4F40-B65B-4D2F84B75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B1E21C6-0C28-4857-B5D4-1BD03E73C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DD497C8-B8DD-4178-A7BE-EE3EAD956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BF7BBA8-3D99-4D11-ACE4-044429416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C573630-41CB-4913-BB5B-4C793348D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11ECC01-F934-498E-A6B2-6869F47AA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A18F460-7CBA-403C-B529-B993BD724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247F23F-8338-4B7B-A44F-056C00D8D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1F785AE-06CE-4143-81C7-17A16140E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FCABC33-D208-49E2-B114-273E39CE5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5DFD84F-8F06-40E0-8B95-1BA504C47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A9B8E05-852B-49A3-8326-ED2E3E8EE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E4BDCD2-F8AA-475C-AE1D-2485B658F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3643F29-700B-4A0D-8DC4-29056E0CC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31181B5-6A40-468B-91B7-0D3448255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CC65096-CA6A-4DEC-9D58-F0F0BE7AF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76CDDCE-8F6B-4C97-B4AF-E18803E93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98F5C97-BD27-4E6C-A1AF-9271E8F74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5054B8D-65CC-4915-B63D-763E626FB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95F076B-3EE4-4A3F-A48F-CDDCD06B2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B70B9C0-2C5C-46C6-A14B-CF8628329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9EA2815-343C-4D54-BA95-232AE07AF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8B81385-0F05-44AF-994B-512174183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C375F17-E2A5-403C-B296-83DA4A398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7DE3AFD-054C-4599-A8C7-B2176947D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8B083A4-0C9F-486B-A53B-807823C3C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52C5D1E-19AF-49EA-923A-8C7A4837E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C31047C-F446-4BD6-9ED4-790278AE8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5C6E83A-2587-4CFC-B33F-07CE0BB95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8B76F69-CA80-479A-8D1D-B4B545155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43AB99E-7325-481B-8E01-771D211F0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416AF17-F6FB-4CC8-958E-0A7C41E98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0E3D927-C975-4796-8AC1-AC621D930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7A00AC6-F5F3-43B7-B724-0B15C1727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B1548BE-DA8C-4AB2-807A-C1A46FFCC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2ACEE0D-6627-4CC2-8699-6AE0FAD5E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36511AF-04CA-4C0F-BC91-CD6ECFA63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BFAA9CA-BBFD-4BD1-94D9-BDAE67BB7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4</c:v>
                </c:pt>
                <c:pt idx="1">
                  <c:v>0.396</c:v>
                </c:pt>
                <c:pt idx="2">
                  <c:v>0.4292</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745.0597014925373</c:v>
                </c:pt>
                <c:pt idx="1">
                  <c:v>2624.685185185185</c:v>
                </c:pt>
                <c:pt idx="2">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49E7289-2719-4631-BB90-1FF808C4F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49096E2-18FF-4252-8D67-7B9FED4DB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31CB7BC-A467-4327-BFF0-FC3D8A101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6E62860-2C75-407A-BEF7-61FB37F4F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11427AA-2E38-446D-BAB9-1BD54E7FB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2A7BC9E-38BD-46EE-83ED-3DC363D77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2A78E0E-0ADF-4C8A-B273-8FD8F2E7E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74B9649-24BB-4231-B02C-1F2AC6237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C8F1692-88D5-4428-A829-DDE60622F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89C1382-F59C-4835-8308-157E92621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6A8CD47-D73E-4163-AA0E-084AF06DC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9985D59-095E-49DE-B213-C41FA8B62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C19DA77-C01F-428F-AF27-C839155FD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728E433-ADEF-4736-B06A-719B95187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5C66D2D-E8AE-41BC-A702-083031E6A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994A58D-ED91-475A-BE18-F48E88202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C9E8388-D665-45C9-84AF-2CFB38B76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BB51A9F-D880-45ED-B2EB-39F6B17C4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DB37CD4-6F65-4C43-8016-E6FAE970F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6D27CBA-51AF-413B-A428-64F955785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5BC4C26-92F5-4231-8823-8AA4631AA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1536A02-A451-4FFB-88C8-98C1E3834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8775D30-ECAB-411E-BED7-8ED63421B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E6E29BD-C83E-477F-A142-B79DB4872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6B5ACCB-FBC6-4944-8874-AF3EB07C4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F6BF2B2-D248-47D4-9A99-3572E6F55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9B32168-6A4F-4962-A8B5-79D6CE133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AAF7794-106A-431E-87ED-4D9A364F4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21A46BA-4F61-40F0-AA52-EEBEA13B6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5D0C5A2-7DD6-4518-8B1A-A6AD7957C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454D27B-CF33-4BA2-B539-42D795F82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3AC5DA1-DDFA-47F9-9E3E-DCE27FEC8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A686EA6-59E7-4436-BC4F-BB5FD4B80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BAD1359-AB72-48D0-A714-C1C893568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5180DF5-3DE1-43BF-9558-B79F46B9B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FF70AE6-7B71-40AB-A460-78BEB42F4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6229DF6-34E3-4A2B-9071-42AFE2344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4AAA9C3-B41C-4935-92B4-8F26A8CD2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E80CC5C-7DF5-4057-B1D6-31830F533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D79DA4D-DB8C-4DCF-9DE8-A2ACCC5BC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3468953-2F72-4042-8903-366232823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5BA4E40-C132-4331-90B3-5B7500ACE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182E814-7746-4BB0-88AF-9FCC19E98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B2333A8-75C2-4B3B-8455-B45687248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2CDC36A-580C-4408-AC02-DA9DFFD56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DD9B124-F9EC-4843-B0EC-D57100241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25CDFC0-8F73-42E4-ABC9-9196E92F3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B6760F3-B11F-494B-B41B-CACEE7C36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9BC26F1-B308-457B-B1DE-26F2E5039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4325E67-9CCE-40D3-AC92-B25FC28C1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3D2241A-F4AB-45FD-81EF-68C23ED67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BF24B3A-B6A9-4053-BD0F-DFA5F1E39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591FD30-C325-4139-AC44-F08D2FB06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859B9B0-5A03-4E04-A29E-4EB478378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E5FAE0B-AD9E-4E73-9BE7-C0A2A9A9C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E3524EE-F4F7-4B99-BFFA-3EF5FBB30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205AA4F-B48B-4206-A6AB-95ED1C4DC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485</c:v>
                </c:pt>
                <c:pt idx="1">
                  <c:v>-0.9105</c:v>
                </c:pt>
                <c:pt idx="2">
                  <c:v>0.3205</c:v>
                </c:pt>
              </c:numCache>
            </c:numRef>
          </c:xVal>
          <c:yVal>
            <c:numRef>
              <c:f>Sheet1!$B$2:$B$4</c:f>
              <c:numCache>
                <c:formatCode>General</c:formatCode>
                <c:ptCount val="3"/>
                <c:pt idx="0">
                  <c:v>0.6969</c:v>
                </c:pt>
                <c:pt idx="1">
                  <c:v>0.7947</c:v>
                </c:pt>
                <c:pt idx="2">
                  <c:v>0.6902</c:v>
                </c:pt>
              </c:numCache>
            </c:numRef>
          </c:yVal>
          <c:bubbleSize>
            <c:numRef>
              <c:f>Sheet1!$C$2:$C$4</c:f>
              <c:numCache>
                <c:formatCode>General</c:formatCode>
                <c:ptCount val="3"/>
                <c:pt idx="0">
                  <c:v>914.0</c:v>
                </c:pt>
                <c:pt idx="1">
                  <c:v>839.0</c:v>
                </c:pt>
                <c:pt idx="2">
                  <c:v>7307.55357142857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5EF3AB4-8EA4-4EA5-B019-A4FE62433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6EB17B6-ADEA-4345-AEA7-E7266A527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51F0028-980B-4C67-87C6-D55596EDE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54829BC-9D70-4D2F-A2F3-22516D6A1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4D20281-45E1-4BB6-8D59-9122B02B9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2605BFA-89DC-48F7-A3EE-6A386CA19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51C1AF4-A2F2-414F-ADC3-0B0AFCE9E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14B7BE6-D35C-4B49-9A71-88B4AE9D7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572</c:v>
                </c:pt>
                <c:pt idx="1">
                  <c:v>1.8017</c:v>
                </c:pt>
              </c:numCache>
            </c:numRef>
          </c:xVal>
          <c:yVal>
            <c:numRef>
              <c:f>Sheet1!$B$2:$B$3</c:f>
              <c:numCache>
                <c:formatCode>General</c:formatCode>
                <c:ptCount val="2"/>
                <c:pt idx="0">
                  <c:v>0.6256</c:v>
                </c:pt>
                <c:pt idx="1">
                  <c:v>0.6006</c:v>
                </c:pt>
              </c:numCache>
            </c:numRef>
          </c:yVal>
          <c:bubbleSize>
            <c:numRef>
              <c:f>Sheet1!$C$2:$C$3</c:f>
              <c:numCache>
                <c:formatCode>General</c:formatCode>
                <c:ptCount val="2"/>
                <c:pt idx="0">
                  <c:v>10963215.676699987</c:v>
                </c:pt>
                <c:pt idx="1">
                  <c:v>9131649.9624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6204"/>
          <c:min val="0.5257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393244343392"/>
        <c:crossBetween val="midCat"/>
      </c:valAx>
      <c:valAx>
        <c:axId val="1011451359"/>
        <c:scaling>
          <c:orientation val="minMax"/>
          <c:max val="1.11072"/>
          <c:min val="0.2404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77291727395960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49F6683-EB1F-4C09-B38E-835A2411E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1B2F5EB-9B09-4C57-9F28-CB3A22FD1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5D54E03-09B4-4DEC-B703-951CDEF59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A254E20-7FD6-493F-80A6-8BDDC6990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F8661E0-4A86-460B-ABCF-BDCAE2F62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3E11332-3D6D-46DB-893C-975CEA212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7CFDCA7-3928-4EFC-9488-C8906F808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2193BA2-F964-41A5-871E-844E2D14C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77D2066-25B9-400C-B88B-5042108BE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35F2087-80D1-40DF-8534-6C1474448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81BF457-2378-4B41-920E-4B3D99E67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B5B677F-BEA4-4252-8993-C6E4312A3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6CDF0B2-F131-40B9-9AC8-AF6B8C7D9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F623EFB-5486-47A9-AB72-7D37AFA23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2CE8A77-99DB-49BE-8697-3D5D77C35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56295F5-EAE4-4297-87AA-F1B897775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85EDF94-C42F-4113-BD1C-6BDDE3898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5C02A98-F363-44BB-B973-18365EE47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C2AF3C5-772E-47AD-AC9E-5AD8EC337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E8F6B5A-7DB8-440C-BCFE-CF9C9513F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C5DBD5D-F03D-4EAA-98BE-5668A90DF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EDFC78C-EB56-425C-945D-747541212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4E1270B-DB58-4C81-96E5-D9AD51985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270C886-6CCA-4D74-B04E-288B768B5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AC65B00-FDA8-4981-96E9-73594A270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251F118-7E9C-4FA8-9400-38E8CD475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72172F7-7E36-42B0-B8AA-2A770C965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D052384-B2E8-419A-9FB5-1139F7206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C23BFB8-9734-4C9D-A901-5560D565F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6EFD52D-E103-4B8C-93E2-C9F78A910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4BF9C95-6170-4701-9658-6197A37F6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29D2627-73C4-4229-84A2-A83FAD729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9FD0E0E-BABC-4B1B-8570-0AC240212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6F17A4E-941A-4A3B-8062-48D1996D0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61E57E6-12C6-497C-B039-3DDF5DED5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A7D1BDB-BB53-490E-85E9-08177B899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7D154B7-C37C-4F65-803E-0479A6C2F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562041E-9E42-4DC0-80B6-3D88F383C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00CEC26-85DB-420F-87ED-77D6B1B7C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65E9EA4-9294-4219-B70B-07207B5A5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728F3FF-0F5C-440B-842A-08054B9B5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B2112AE-E4A7-4294-BC72-B400D4CE6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A513F60-D78E-4CF1-92F4-F65C531C7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9341975-9724-4198-A641-82E80B241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AC1468C-A342-45EB-B308-4EA62A79E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7AC19B9-310D-4C38-94A2-A4EA9D88D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68D3027-FF85-465E-9F47-94566CEE9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0797C1B-6C63-443C-BE2E-07BEC4F80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79408B1-1F7F-4A8B-8C42-2209D1240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051A85A-36C1-451F-8A1D-2A4917E6C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6BEAC2E-9CAD-4B71-91FE-A3672ECB5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9167299-1F16-4057-BDBA-B5D3B3623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2AE8F22-B56F-49C5-8D23-0802C4EE6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7E9C2EA-AAD2-4BB5-9898-EF2DA8E6E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945F17C-BA98-4B9F-9964-7647CB888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49C4884-4559-4565-AB96-2BED4AA3D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6DB0914-42CF-4209-B877-5931C625A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9</c:v>
                </c:pt>
                <c:pt idx="1">
                  <c:v>0.3583</c:v>
                </c:pt>
                <c:pt idx="2">
                  <c:v>0.4303</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1148.3170731707316</c:v>
                </c:pt>
                <c:pt idx="1">
                  <c:v>3361.8</c:v>
                </c:pt>
                <c:pt idx="2">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777B29B-B0D7-4D08-9A94-F6595EFDD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9A52B29-3406-432E-B0AE-395802509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ECC7D5E-37F9-41DC-BC4F-E92EA5798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565D4CF-F461-4355-8DE6-28EEC9180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7D7DE5E-2B20-41B8-AD6A-95FA4AF6E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C099BC2-D73A-45DB-95B3-130EEC800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A11959D-A952-4417-A894-3F025585C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3A9A0E-4324-4AF0-B258-2798AFB50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57D8F2A-7148-4855-A255-A70287177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E6F09ED-508E-4766-B75F-7328F7F38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AEE7C10-6A03-456E-A06C-666E53ED1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9CB02BE-8515-4F4F-A74A-42DEBD69A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D60FF14-F788-4B97-9A27-A45CB9539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636E6DB-8AB4-43E6-A808-F99E1E91A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6719C07-C41C-4F96-A574-5B738DC47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36A00BF-484C-483C-86A4-30AE15A82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4280D3C-A9DB-45AE-B296-41E30641D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A0B9207-8C1C-4DF9-9159-F70AAB3B5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AFF003A-65A7-48C3-92A3-948E418A0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15865DD-C144-4047-9292-C85B8DBD9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EFFD335-FD5E-4A7F-83B4-2F340B9B2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57036B2-49A8-41F3-A63E-2FF0AAF1B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2E2EAFC-9CF2-4E1B-9D8F-86912E82B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2D043FD-242C-4120-8563-334F30766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40BB63B-A67C-4B2F-B8AA-2E5142456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8A60181-B376-4A93-928E-97A9D1ED2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3524915-DD86-4CE9-8FBF-F072E7E6D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24A7B1A-959C-4885-B73A-EEBCCE3F8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32834C7-5EA7-4FC6-B82B-1556237C6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62FDEF0-3F0E-4A08-AFF6-1E7690014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E5D67EA-AC63-4F87-B39D-8A8598EB4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D36C2DF-6A90-456B-9F17-804C6F0D8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178FAD2-3044-4D26-A38E-C6CEF751C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1A800EE-4470-481C-B6A0-43294B924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64A1045-522C-46AD-9802-7CB4E6076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196C082-83D2-4A70-B888-4F7A1A195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0EFC446-40BB-4719-B197-1272C3C78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D93F659-CF2C-445C-875F-AEB30746C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15D9D87-CB07-486B-8D25-2418C0146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99C996A-6B8A-4D00-9724-2B571AFBA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4507394-5C16-4029-83B1-96FB652BE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6248774-0AC0-4269-AFC3-4D1BA8838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6C08359-86A6-4C9F-919A-C8021905E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A8602B9-18A6-4416-A86E-CFBA95801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1768E58-488D-42EA-922A-1BB18F6FF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E22EB38-AAC0-4875-8452-A58599008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7D82B9A-F744-4213-994E-ADAD1DBD7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85E3F03-8D01-45B4-BF92-B7189A2A8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CC15A5F-45B4-4F2B-8F54-D47945A02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80B89CF-D113-4059-8577-F4755BDFE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38FD832-8C43-4ACA-BA03-809170F92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EF8FC6E-250A-4AE3-A140-193569DD6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CD6D6A4-523F-4626-BD59-E72835AEC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4020306-4001-47F2-B74D-6F82CE833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AF2945A-A400-4129-9ED5-EE8AE55B1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7EC6C23-FC79-4DC9-883B-CE480920A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D8615BF-9F46-4B13-B580-D45E4312C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683</c:v>
                </c:pt>
                <c:pt idx="1">
                  <c:v>0.2205</c:v>
                </c:pt>
                <c:pt idx="2">
                  <c:v>0.3464</c:v>
                </c:pt>
                <c:pt idx="3">
                  <c:v>0.2843</c:v>
                </c:pt>
                <c:pt idx="4">
                  <c:v>-0.6417</c:v>
                </c:pt>
                <c:pt idx="5">
                  <c:v>0.3211</c:v>
                </c:pt>
              </c:numCache>
            </c:numRef>
          </c:xVal>
          <c:yVal>
            <c:numRef>
              <c:f>Sheet1!$B$2:$B$7</c:f>
              <c:numCache>
                <c:formatCode>General</c:formatCode>
                <c:ptCount val="6"/>
                <c:pt idx="0">
                  <c:v>0.797</c:v>
                </c:pt>
                <c:pt idx="1">
                  <c:v>0.6948</c:v>
                </c:pt>
                <c:pt idx="2">
                  <c:v>0.7142</c:v>
                </c:pt>
                <c:pt idx="3">
                  <c:v>0.7271</c:v>
                </c:pt>
                <c:pt idx="4">
                  <c:v>0.7947</c:v>
                </c:pt>
                <c:pt idx="5">
                  <c:v>0.6903</c:v>
                </c:pt>
              </c:numCache>
            </c:numRef>
          </c:yVal>
          <c:bubbleSize>
            <c:numRef>
              <c:f>Sheet1!$C$2:$C$7</c:f>
              <c:numCache>
                <c:formatCode>General</c:formatCode>
                <c:ptCount val="6"/>
                <c:pt idx="0">
                  <c:v>789.0</c:v>
                </c:pt>
                <c:pt idx="1">
                  <c:v>66122.91836734694</c:v>
                </c:pt>
                <c:pt idx="2">
                  <c:v>5990.285714285714</c:v>
                </c:pt>
                <c:pt idx="3">
                  <c:v>19381.2</c:v>
                </c:pt>
                <c:pt idx="4">
                  <c:v>4359.0</c:v>
                </c:pt>
                <c:pt idx="5">
                  <c:v>57541.38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2C58E99-90C6-4A9E-9B69-80287C646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6B32975-6B4F-45AE-AB5B-16D4E2292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905FB0-E869-4FBE-B6EC-B8EB261FD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75F33F4-F87A-4D47-AD98-B9C5221C4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F41794B-D3D9-4E08-A394-C2DDFD7F2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0F0F83-ACCF-4520-AA27-985072EE2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54D22DA-1272-45C3-AA47-7A0CA7D5E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7BBD675-49D0-4629-9FBA-AC75016E0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F1C6D6B-329F-4EA4-8ED3-CC3F467ED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1730D18-5E8A-4400-8594-A3E150EE3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BD6D119-3950-4F45-B827-C368EB2B4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2DF40F-249D-4C49-8291-6F9E42859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2C64EA6-93AB-4B07-968E-CEEB68F70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7A7B8CF-A4C0-49C9-87EA-54D1B08F0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282978D-BD4C-4DF9-B8F8-4644BBEB6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C21B63B-4016-4827-B60D-1B296C30E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5EE1598-BC6D-4470-B65E-97AD75D98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3877ED3-A882-4407-9F79-A55CA6294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97D9241-04B7-43AB-9B06-38CCBAB01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3710F28-955B-423F-A921-C90AA687C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4A0A287-1AA2-48F0-8C2D-AA3C40E0E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EAE42A7-FAF2-42EF-80A4-2F6E0E116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270DC07-0B4D-4053-A0FC-A14A62975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AE3AC9A-1D4D-4512-8D25-9100E7C55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6B40711-3660-428D-9EE1-DB2194E7D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BAEDD05-7225-4779-9754-BCACF3B7C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179B21C-1DF6-4E9E-BE15-A7B129411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A2360D0-1A2D-454C-998D-7835AAE40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884B374-CA11-433E-8C80-228E92FA9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30DF34B-6EB1-48EA-8293-D964A2AB5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050A86F-33B9-41E5-924C-9C33D5690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B1A2673-26BD-461C-A006-6B438878A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5424628-0DC4-4FE3-ADAD-999FD3A45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1675D7F-D9CD-4B06-B8AF-8498C9566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9CA79AD-7216-4014-98FC-68DB1965E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CF90550-78F2-4F56-858F-411735BA0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2C225E4-60D3-445F-B561-5E4ED1A3D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7915796-8D9D-49B5-90EE-83A883E81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FA57630-3914-4185-A398-6CC12E95D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3EA3FCF-B5A8-4C21-A517-45D264102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AB849AA-4E29-4E59-A1E1-EF7ED4204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8B1B716-2EF6-4692-BCF0-C47F1D2AB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7FA2262-3D1D-4A2B-A1F0-898A4D812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9E35A55-62AC-440F-967C-F1B4B2D94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024426A-F39C-42BB-B3CE-A05E92EAB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0021CA5-48EC-4C15-813E-FB8E9E3FD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05D1B8F-F81E-48BD-AE86-4F5E8E616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FD97725-E445-4B49-9571-6DF414566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F62E3C4-9707-4532-8D98-1464339A7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4C7A8AB-2DEC-4C6F-9446-1B02E9A8F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8508BF1-9B30-4E77-AA32-DB72CCBFA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16C799C-8A0B-4578-961A-197D0D4E0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B5EEE75-E503-49CD-8527-B5564C529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630A0D8-AF41-44DC-88A5-9217CB724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869BBEC-A11B-4876-ABBE-586F23D28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5F079D0-4E39-4439-A4A2-6E878D027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0A1434A-5FC0-4DD1-8484-CC6BC0395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065</c:v>
                </c:pt>
                <c:pt idx="2">
                  <c:v>0.4301</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8564.56338028169</c:v>
                </c:pt>
                <c:pt idx="1">
                  <c:v>32905.13333333333</c:v>
                </c:pt>
                <c:pt idx="2">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D90DBFC-6845-447A-88FB-1399655C2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968B717-7C0C-4216-B2AB-DE0D890FE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273EFA5-9129-4C7B-95F5-15F4831D5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05EC13-D9B5-46CA-9FF7-75D22F45B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1E8528C-B453-4B27-980A-E8A0043F7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8A03EF1-08B6-45FC-B5CB-396254206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D6055F3-4FAE-4FE3-B7C0-07B4A8B86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67FD9EA-E0A6-4944-BAFB-BF56649ED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856F524-3877-4D84-8EF5-2B097786F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F99F4ED-15FF-4600-A30E-1241EBC61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851955B-D7F3-45C9-8E58-482A93954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6E6911E-CA87-4B77-A33F-7D195C1DE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C79904C-EF3B-43FE-8B33-8707DB7F7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FD391A7-EBF6-43AB-B6EF-6A7C17F3D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A3D203B-4B36-41CD-887F-26879E1B5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58AE79C-02F3-40AA-8573-D32D003AF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A6414E0-21EC-4FA7-B990-EC512FD6F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F72B2BC-9CBE-416E-82F6-6D8B2AF07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83DB64D-B5FC-4A48-A9DF-F974D0FFD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DF1C7C9-4B88-4059-AD9F-5A88E787A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41F20AD-1F92-444F-B8A9-76D25FB53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3E0D151-3284-4AD6-AAB0-6BD4A366D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69902E9-2299-460F-95B2-B16B27A66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96F1E61-B793-4811-B6EF-EB2BB8E12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5C58E3E-73F1-4E5E-8F32-A0877881E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8ABEB99-7BCB-42C0-A51A-07B342A93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EE42620-AEF4-4EBC-B944-E4AE5D37A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21E4A7E-358D-4A1B-9A24-C69438E17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1C48AF8-CEB7-4F28-B932-3F4106FAB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B95474E-6750-4C07-96D6-BA3D600D1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8481A85-2585-4232-BCA6-FCC97F314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7B87FC3-7161-4569-9357-D269A392C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440DCF9-D0A1-4B5F-9C20-3DEAA2496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B7AB169-EA44-48C9-A7B7-331A4C003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1A14CE2-C5D5-4A60-9F33-0EC22792C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F7E64BA-70E7-4732-8E93-6A3E1F475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E199018-024D-4B2A-957F-CE83D705B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DAA1F8B-59F2-4D35-83B1-C99392868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49D0C74-C9E0-4C8D-8F38-591BB2912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C8C582A-553F-4685-A500-8D34402D7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307B72C-A16D-4D87-9EF7-AA74232F1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FC07509-65EB-4073-8125-3ABD0A9F9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7F3167E-4853-435F-AF9D-A232209EC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D8E7BEC-696E-414A-AD58-8A714BC1C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3B39C5F-0004-4178-B311-FA1136D04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FC74B8A-EBED-405E-873F-5B77AAFB8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5D6DD94-5846-4907-80CE-F332A8FB3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5665BE5-4DC9-49EB-BC88-055D98575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16E6283-08EC-4276-BFC9-C8B8B928D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06F725C-CD31-4556-8DED-DC86DC10D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51718EA-3C04-4E13-859A-1E40AF115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74D9CB4-A7E4-4482-9C33-0254F79EE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5603466-1CC6-4B06-B363-18642A070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0689FB6-C863-4C32-9B30-069C43B9C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7613247-D23C-4C88-B8E6-52FC65EE4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58DFAF0-9EBD-4D30-AA04-B352CD5D8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CFC8FD5-5A0B-4919-AE0A-F89572979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3098</c:v>
                </c:pt>
                <c:pt idx="1">
                  <c:v>0.2917</c:v>
                </c:pt>
                <c:pt idx="2">
                  <c:v>0.368</c:v>
                </c:pt>
                <c:pt idx="3">
                  <c:v>0.3539</c:v>
                </c:pt>
                <c:pt idx="4">
                  <c:v>0.2194</c:v>
                </c:pt>
                <c:pt idx="5">
                  <c:v>0.3752</c:v>
                </c:pt>
                <c:pt idx="6">
                  <c:v>0.3585</c:v>
                </c:pt>
                <c:pt idx="7">
                  <c:v>0.327</c:v>
                </c:pt>
                <c:pt idx="8">
                  <c:v>0.2027</c:v>
                </c:pt>
                <c:pt idx="9">
                  <c:v>0.301</c:v>
                </c:pt>
                <c:pt idx="10">
                  <c:v>0.3579</c:v>
                </c:pt>
                <c:pt idx="11">
                  <c:v>0.3207</c:v>
                </c:pt>
                <c:pt idx="12">
                  <c:v>0.3568</c:v>
                </c:pt>
                <c:pt idx="13">
                  <c:v>0.3918</c:v>
                </c:pt>
              </c:numCache>
            </c:numRef>
          </c:xVal>
          <c:yVal>
            <c:numRef>
              <c:f>Sheet1!$B$2:$B$15</c:f>
              <c:numCache>
                <c:formatCode>General</c:formatCode>
                <c:ptCount val="14"/>
                <c:pt idx="0">
                  <c:v>0.3363</c:v>
                </c:pt>
                <c:pt idx="1">
                  <c:v>0.2544</c:v>
                </c:pt>
                <c:pt idx="2">
                  <c:v>0.5237</c:v>
                </c:pt>
                <c:pt idx="3">
                  <c:v>0.4895</c:v>
                </c:pt>
                <c:pt idx="4">
                  <c:v>0.695</c:v>
                </c:pt>
                <c:pt idx="5">
                  <c:v>0.6218</c:v>
                </c:pt>
                <c:pt idx="6">
                  <c:v>0.6039</c:v>
                </c:pt>
                <c:pt idx="7">
                  <c:v>0.6295</c:v>
                </c:pt>
                <c:pt idx="8">
                  <c:v>0.7269</c:v>
                </c:pt>
                <c:pt idx="9">
                  <c:v>0.6515</c:v>
                </c:pt>
                <c:pt idx="10">
                  <c:v>0.7677</c:v>
                </c:pt>
                <c:pt idx="11">
                  <c:v>0.6906</c:v>
                </c:pt>
                <c:pt idx="12">
                  <c:v>0.6351</c:v>
                </c:pt>
                <c:pt idx="13">
                  <c:v>0.5305</c:v>
                </c:pt>
              </c:numCache>
            </c:numRef>
          </c:yVal>
          <c:bubbleSize>
            <c:numRef>
              <c:f>Sheet1!$C$2:$C$15</c:f>
              <c:numCache>
                <c:formatCode>General</c:formatCode>
                <c:ptCount val="14"/>
                <c:pt idx="0">
                  <c:v>874.0</c:v>
                </c:pt>
                <c:pt idx="1">
                  <c:v>1094.75</c:v>
                </c:pt>
                <c:pt idx="2">
                  <c:v>3373.205882352941</c:v>
                </c:pt>
                <c:pt idx="3">
                  <c:v>574.65625</c:v>
                </c:pt>
                <c:pt idx="4">
                  <c:v>5275.419354838709</c:v>
                </c:pt>
                <c:pt idx="5">
                  <c:v>3032.8736842105263</c:v>
                </c:pt>
                <c:pt idx="6">
                  <c:v>999.2</c:v>
                </c:pt>
                <c:pt idx="7">
                  <c:v>506.07142857142856</c:v>
                </c:pt>
                <c:pt idx="8">
                  <c:v>1055.75</c:v>
                </c:pt>
                <c:pt idx="9">
                  <c:v>3945.977011494253</c:v>
                </c:pt>
                <c:pt idx="10">
                  <c:v>4372.0</c:v>
                </c:pt>
                <c:pt idx="11">
                  <c:v>4560.025316455696</c:v>
                </c:pt>
                <c:pt idx="12">
                  <c:v>413.27272727272725</c:v>
                </c:pt>
                <c:pt idx="13">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61D073F-184E-4844-BA7F-2BBE1608E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CF11583-855D-4F3D-B9A7-81B83C405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5A8BD2E-C868-493F-8C8A-99F85C76F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71F80F-5558-489A-A962-28BFC8391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F9F747E-CA1D-4320-8091-DD907A6FB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1B4F3FB-FBBB-4BB0-AB4D-0471C8B3E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3156E1B-B1F6-4BDB-BF4C-DC83A2278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0EF7A9C-9B8D-4E6B-9FEE-B0D816E58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DE39008-8256-402B-8C69-8A5BFEAC6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B1659BD-3360-4F07-821F-8042F756E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B314B95-A9B1-4D5E-A764-49A8548F2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0BFFF27-CD64-44CD-A48F-CF4ABB869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461257C-729D-4E33-99C4-AD16FA65C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70C97EF-80B2-4F2A-80FE-22F1D2309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C23F753-AAAA-4C85-8828-3734D82FA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1B2A16E-151F-4935-AD65-208CB3505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44A1A17-1878-41A0-BE90-3474CB7AD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4D49069-51A7-43AB-BB3E-C68FEF20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FABC5C8-5388-4AF4-AB1F-ECD2B56D2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8871110-17E5-4FA2-8BF5-770DDDB53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49795FA-B4B3-4D81-9855-F742E8245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DC595DE-640F-4F0D-BAB5-D32AC97A1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B8F6357-554B-43E2-8241-E64DA6203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82C5723-EA30-43FD-BEA1-A89EB73D4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D25A9F9-FFC0-44FC-9914-056DCB8AB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C2065AF-E013-45F1-B2D3-90EE73A53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0EB34AB-DB1C-46B9-8926-6F9DD12A0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3EFAFBD-6A52-45FA-8091-F5AC2091E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BFFD990-E0FA-43FB-923D-ED7C6F1E1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4270821-AEBE-4AA5-87F8-486B47ACD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C1F59E4-0409-48AD-BF8F-4B3FA554E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0FDE442-5CEB-4B50-B546-AC578ACEB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4FF4596-0A7E-470C-928E-7B420C18F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9666DF5-70F7-4E01-9808-F1C9539CA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9B74EAD-E743-4A08-AF45-7145D1709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A9F92CB-061F-4E32-A9D8-824D03BEB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8147D14-F650-4EA8-A59E-5B617814F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00DD445-4D04-48B9-A4C1-059C92BE1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E9E4FD4-D728-4AE1-B0B4-BBF6D49CE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9EC9BD5-A758-4D44-9BF8-BD4F71EF4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6227FB0-E150-47DF-ABE7-C94F39F8A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1391994-4901-48B3-881F-44746A986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ED96CA8-B9B7-4734-9D3B-BAB76573E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9067A97-CFA6-4959-943F-B1824E0DD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1561DF9-DB2A-42DE-BBC8-B1C58E06B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CC9D697-1CB1-4FEF-BBC3-8AF38B752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2441DC5-E170-4D0A-A99C-614D1A971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53DC5FE-9EF0-41BE-B825-C72E1F09A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205EACD-A7FE-48E8-A7AA-93FA3EF48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780AF5C-C228-4DE3-9F73-C11845678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F592004-EA80-46E9-880C-FB6B7F178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A1EB89D-121B-4661-A037-620886395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2CAB023-E239-44C8-A06D-D95E3A920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E7EB9A5-EF0F-40B0-BCAE-8A35F93D9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DEE0DF6-7A15-43F3-A413-C0AB2A415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CA4BFAD-A547-47E0-9601-9CD37E7E9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AC29F2A-D330-4B53-B5EC-E1DC81772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1</c:v>
                </c:pt>
              </c:numCache>
            </c:numRef>
          </c:xVal>
          <c:yVal>
            <c:numRef>
              <c:f>Sheet1!$B$2:$B$2</c:f>
              <c:numCache>
                <c:formatCode>General</c:formatCode>
                <c:ptCount val="1"/>
                <c:pt idx="0">
                  <c:v>0.372</c:v>
                </c:pt>
              </c:numCache>
            </c:numRef>
          </c:yVal>
          <c:bubbleSize>
            <c:numRef>
              <c:f>Sheet1!$C$2:$C$2</c:f>
              <c:numCache>
                <c:formatCode>General</c:formatCode>
                <c:ptCount val="1"/>
                <c:pt idx="0">
                  <c:v>47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56A140B-E0E6-477D-BBAD-D5FB84ECE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9CF14C7-B4A9-4801-8F9B-39FBC92F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BC11AE-8971-483D-A371-51947A948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33F14AA-DCF7-4B8B-A6B0-C3B64AF05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D48F344-37BC-4994-964C-96368A402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C714962-D81E-49CE-8D89-73CD398CC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2E95B63-1372-4E22-85F6-1271E15D6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2BF30D-68A7-4808-A0AE-3EE8E5814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3DB095A-B725-48D2-8C79-C859465B2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565822F-97F1-4B03-B9D8-4F38B23DE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E587BE2-DFA9-41FE-8CE6-160371FB4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CD05585-3C49-4C86-B707-8C5D209C5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4492CBB-3EC5-40F1-9690-CDFEFDBA2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96AAF51-67B6-463B-A271-EC6F0EF63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2318FA9-E26E-4AAC-BD78-351298FA7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E8DD2CC-6884-40CE-BF79-AE7DDF961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A3A7A2A-4BAD-47B6-B316-1DBA8774C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1C69547-DC5E-48D6-AD90-F3314E8A1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F251B00-40A8-446E-81DF-0A329F1D8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AFBF403-4301-489B-BE1B-0B3E05D1D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F03A0A8-050B-4869-8529-1EA744EDD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461FDBA-54A7-460D-9E95-0A12FC1D0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22305D7-4775-48E3-B273-BC5018F29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0FE17E1-BA13-4F3B-A7CF-C8FFA48C3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3A7B646-3538-4653-9FDD-3F18E72B8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71640DD-B00C-4524-BEF5-E87FD1469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6A7096E-55A8-40E4-8072-C2AB81354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A60703E-1EB7-4429-9DD2-23388BB06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9EB7065-1A34-4930-9FCA-6A11EC502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98E6EEA-36FF-45A9-B154-7C3C3B95A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9363458-82E1-4A31-B6C4-B0B4378F4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9574D61-F39B-4ECE-965E-9C1A52F96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6CE5B1F-3926-45F3-864F-C6BEFB93A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570693B-8E9D-446B-ABA7-0798BF965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9DFD99F-3003-458C-9384-118BBAABF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1836ACD-B410-4EEC-9EEC-6066653F0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DB62AB9-0C91-421D-A5BE-303A0A1E8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12D4497-2DCF-4758-9A81-8534BA5C5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F733246-E58A-46DA-A27A-A3FD3C712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D11F7B9-B7B4-44E2-93FB-AACE8560F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4FAB3B9-58B3-418F-A28C-1206B2943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2C6A9EF-4156-48E3-8E8C-5227EB8F2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1A62589-0946-4234-A5DF-2D7DC50AB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72CABA1-EA0C-4C4F-B8D8-A70476E90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2E0F9E1-A6E0-4586-985D-92C355E7B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641008F-A81D-4CF4-A16F-357732FA7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178B441-E5B6-432B-A7F3-BE513724E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C060E35-E80A-4525-8169-5326EC0F1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B5EA716-7C38-4EA6-B8B2-05308D40A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D5336C2-313B-4435-810A-17E436DAA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09FA7CB-D00D-44DC-97FE-78DC27398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F0F0750-343D-4C78-8BCF-0FF1388A3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E6EB04B-34D6-48C9-A1DF-7EA2D1C32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A24B351-9BB9-49E0-B965-792988BD8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40AEA4B-4334-44B4-84B3-4C6AA7736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39B38AC-F711-49B0-9F16-E5F0DB60A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3CA078B-953F-4744-AD67-927E545D8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87</c:v>
                </c:pt>
                <c:pt idx="1">
                  <c:v>0.4875</c:v>
                </c:pt>
                <c:pt idx="2">
                  <c:v>0.4532</c:v>
                </c:pt>
                <c:pt idx="3">
                  <c:v>0.3974</c:v>
                </c:pt>
                <c:pt idx="4">
                  <c:v>0.5509</c:v>
                </c:pt>
                <c:pt idx="5">
                  <c:v>0.4479</c:v>
                </c:pt>
                <c:pt idx="6">
                  <c:v>0.3088</c:v>
                </c:pt>
                <c:pt idx="7">
                  <c:v>0.4033</c:v>
                </c:pt>
                <c:pt idx="8">
                  <c:v>0.396</c:v>
                </c:pt>
                <c:pt idx="9">
                  <c:v>0.4292</c:v>
                </c:pt>
              </c:numCache>
            </c:numRef>
          </c:xVal>
          <c:yVal>
            <c:numRef>
              <c:f>Sheet1!$B$2:$B$11</c:f>
              <c:numCache>
                <c:formatCode>General</c:formatCode>
                <c:ptCount val="10"/>
                <c:pt idx="0">
                  <c:v>0.4911</c:v>
                </c:pt>
                <c:pt idx="1">
                  <c:v>0.4195</c:v>
                </c:pt>
                <c:pt idx="2">
                  <c:v>0.4934</c:v>
                </c:pt>
                <c:pt idx="3">
                  <c:v>0.6837</c:v>
                </c:pt>
                <c:pt idx="4">
                  <c:v>0.48</c:v>
                </c:pt>
                <c:pt idx="5">
                  <c:v>0.5166</c:v>
                </c:pt>
                <c:pt idx="6">
                  <c:v>0.0104</c:v>
                </c:pt>
                <c:pt idx="7">
                  <c:v>-0.0032</c:v>
                </c:pt>
                <c:pt idx="8">
                  <c:v>0.7091</c:v>
                </c:pt>
                <c:pt idx="9">
                  <c:v>0.7317</c:v>
                </c:pt>
              </c:numCache>
            </c:numRef>
          </c:yVal>
          <c:bubbleSize>
            <c:numRef>
              <c:f>Sheet1!$C$2:$C$11</c:f>
              <c:numCache>
                <c:formatCode>General</c:formatCode>
                <c:ptCount val="10"/>
                <c:pt idx="0">
                  <c:v>6191.265306122449</c:v>
                </c:pt>
                <c:pt idx="1">
                  <c:v>2192.542857142857</c:v>
                </c:pt>
                <c:pt idx="2">
                  <c:v>2490.9578947368423</c:v>
                </c:pt>
                <c:pt idx="3">
                  <c:v>745.0597014925373</c:v>
                </c:pt>
                <c:pt idx="4">
                  <c:v>2380.074468085106</c:v>
                </c:pt>
                <c:pt idx="5">
                  <c:v>2854.177777777778</c:v>
                </c:pt>
                <c:pt idx="6">
                  <c:v>1268.8556701030927</c:v>
                </c:pt>
                <c:pt idx="7">
                  <c:v>3147.919191919192</c:v>
                </c:pt>
                <c:pt idx="8">
                  <c:v>2624.685185185185</c:v>
                </c:pt>
                <c:pt idx="9">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DFA7047-06C3-418F-AAD5-D79EC4C5E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63E00E4-55CB-4C6D-A926-F21FF43CC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7DC8DA-AFBE-4978-926C-D3D7BD108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9097419-4D73-475F-A65C-6D3D13E0A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639B942-F054-4234-86DE-B28C7DCA6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D0ED58C-AA00-428E-8676-7A831328C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2F09478-541C-43F9-AC38-EF37ACF87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B5DC44C-C16A-4720-9A7E-3FAAB3AF1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0EBD51D-7493-44B6-8280-F38352698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72F2526-D4AE-4356-9C9C-A41B90A0B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20593E6-7319-4E55-B1FE-855A11A3C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B9F0ACD-DCAD-43E3-AA68-51E508815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568052F-DFCD-4C6D-9BD1-FDC76F4E8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C7985A2-F8E5-4FC1-81F0-E8CA74E65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C16CD07-D4F8-4EE6-8F2F-2D742AEAD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BE8B5CD-67C8-4EA4-8543-A4B2919F1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D2F3D96-78F9-4F08-BD9D-18F67531D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7EDA137-BEE8-4D39-AA1A-7693D7E46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6D3AED5-A76F-412D-9637-4BEA493F9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1651B07-698E-4EC2-9933-E26EA3A0B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8ED93CD-8972-48D0-9BC3-684D5917E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F598FBB-7A24-4DCD-828B-41FC007AD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EAE590E-AF7B-45FA-8C6C-BAF7F576E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E988C58-FBA7-47BF-BA7F-68BDD1D70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F5D624E-5603-40C3-A517-44E2F84E3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93117C6-3E45-40FB-BDD0-DEE432D5C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2996D52-3DAC-4B8C-9ED7-84CDA1BE4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2B1AA6E-7548-43C3-9575-85146369C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F7457E7-894E-42D4-BFC8-82C2E04EE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72201A2-C7A9-461E-A944-7FE308820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36D12DB-2CFC-4F44-A262-08711BFF0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11FDCAB-0220-4367-B6C2-04A56A668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8AB4A47-50F6-49E2-876C-56E5BC6F5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F0146FA-845A-4374-9001-E4A7B1460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AD8465-529F-48AD-A214-979DC9E82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403F84B-504E-4F4F-B0B6-DDC56CA17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0E3CD41-8D42-42F9-A22D-3A98C3490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DF36764-304D-48FC-A842-3BB64364B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0B2F364-4A15-4E6F-BF8F-F93D5764A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F4EF090-66AC-4AA3-BCC4-A33342434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C336764-C772-4A58-969D-7FE87955B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83F1B9B-0369-4A8F-A6D3-DB44968E6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2E1ED2F-2DA4-447C-9D1B-151B8F29D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F55CE3D-5241-4145-B3F6-98D312A85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5202675-5843-44CE-91EC-57E0CA78F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B279368-4A90-42AF-91C0-809DFDB05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43E5305-A13B-4E4D-887C-479792BFD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BB423BA-CDD0-43EA-B600-B43226456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C7FEA5D-ADBA-4D79-89F7-30088531C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7E4A6C1-0D13-4A0C-B48A-348DC4853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57802E5-1B7D-4F2C-9D63-3412E764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424A2D9-9101-4DAB-82CE-0D3F2F372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1F2DB05-CE2B-42A4-80E8-B439210DC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21BC7CC-0082-4DDC-BADD-EB2793352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769D725-20CC-432D-816F-2116223CB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91E107B-CC83-4568-AD73-DBF774DCB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D2C22C9-B307-4B15-BECA-6114DF466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6583</c:v>
                </c:pt>
                <c:pt idx="1">
                  <c:v>0.2604</c:v>
                </c:pt>
                <c:pt idx="2">
                  <c:v>0.2228</c:v>
                </c:pt>
                <c:pt idx="3">
                  <c:v>-1.683</c:v>
                </c:pt>
                <c:pt idx="4">
                  <c:v>0.3605</c:v>
                </c:pt>
                <c:pt idx="5">
                  <c:v>0.3455</c:v>
                </c:pt>
                <c:pt idx="6">
                  <c:v>0.2205</c:v>
                </c:pt>
                <c:pt idx="7">
                  <c:v>0.3698</c:v>
                </c:pt>
                <c:pt idx="8">
                  <c:v>0.3679</c:v>
                </c:pt>
                <c:pt idx="9">
                  <c:v>0.3185</c:v>
                </c:pt>
                <c:pt idx="10">
                  <c:v>0.2843</c:v>
                </c:pt>
                <c:pt idx="11">
                  <c:v>0.2945</c:v>
                </c:pt>
                <c:pt idx="12">
                  <c:v>0.351</c:v>
                </c:pt>
                <c:pt idx="13">
                  <c:v>-0.6417</c:v>
                </c:pt>
                <c:pt idx="14">
                  <c:v>0.3211</c:v>
                </c:pt>
                <c:pt idx="15">
                  <c:v>0.3489</c:v>
                </c:pt>
                <c:pt idx="16">
                  <c:v>0.3918</c:v>
                </c:pt>
              </c:numCache>
            </c:numRef>
          </c:xVal>
          <c:yVal>
            <c:numRef>
              <c:f>Sheet1!$B$2:$B$18</c:f>
              <c:numCache>
                <c:formatCode>General</c:formatCode>
                <c:ptCount val="17"/>
                <c:pt idx="0">
                  <c:v>0.6078</c:v>
                </c:pt>
                <c:pt idx="1">
                  <c:v>0.3363</c:v>
                </c:pt>
                <c:pt idx="2">
                  <c:v>0.2544</c:v>
                </c:pt>
                <c:pt idx="3">
                  <c:v>0.797</c:v>
                </c:pt>
                <c:pt idx="4">
                  <c:v>0.5237</c:v>
                </c:pt>
                <c:pt idx="5">
                  <c:v>0.4895</c:v>
                </c:pt>
                <c:pt idx="6">
                  <c:v>0.6948</c:v>
                </c:pt>
                <c:pt idx="7">
                  <c:v>0.6217</c:v>
                </c:pt>
                <c:pt idx="8">
                  <c:v>0.6037</c:v>
                </c:pt>
                <c:pt idx="9">
                  <c:v>0.6295</c:v>
                </c:pt>
                <c:pt idx="10">
                  <c:v>0.7271</c:v>
                </c:pt>
                <c:pt idx="11">
                  <c:v>0.6514</c:v>
                </c:pt>
                <c:pt idx="12">
                  <c:v>0.7677</c:v>
                </c:pt>
                <c:pt idx="13">
                  <c:v>0.7947</c:v>
                </c:pt>
                <c:pt idx="14">
                  <c:v>0.6903</c:v>
                </c:pt>
                <c:pt idx="15">
                  <c:v>0.6351</c:v>
                </c:pt>
                <c:pt idx="16">
                  <c:v>0.5305</c:v>
                </c:pt>
              </c:numCache>
            </c:numRef>
          </c:yVal>
          <c:bubbleSize>
            <c:numRef>
              <c:f>Sheet1!$C$2:$C$18</c:f>
              <c:numCache>
                <c:formatCode>General</c:formatCode>
                <c:ptCount val="17"/>
                <c:pt idx="0">
                  <c:v>1414.0</c:v>
                </c:pt>
                <c:pt idx="1">
                  <c:v>12997.022988505747</c:v>
                </c:pt>
                <c:pt idx="2">
                  <c:v>14923.912087912087</c:v>
                </c:pt>
                <c:pt idx="3">
                  <c:v>789.0</c:v>
                </c:pt>
                <c:pt idx="4">
                  <c:v>36036.28767123288</c:v>
                </c:pt>
                <c:pt idx="5">
                  <c:v>6147.757575757576</c:v>
                </c:pt>
                <c:pt idx="6">
                  <c:v>66122.91836734694</c:v>
                </c:pt>
                <c:pt idx="7">
                  <c:v>36195.333333333336</c:v>
                </c:pt>
                <c:pt idx="8">
                  <c:v>19149.166666666668</c:v>
                </c:pt>
                <c:pt idx="9">
                  <c:v>5750.290697674419</c:v>
                </c:pt>
                <c:pt idx="10">
                  <c:v>19381.2</c:v>
                </c:pt>
                <c:pt idx="11">
                  <c:v>42870.58620689655</c:v>
                </c:pt>
                <c:pt idx="12">
                  <c:v>44077.36842105263</c:v>
                </c:pt>
                <c:pt idx="13">
                  <c:v>4359.0</c:v>
                </c:pt>
                <c:pt idx="14">
                  <c:v>57541.3875</c:v>
                </c:pt>
                <c:pt idx="15">
                  <c:v>5099.131868131868</c:v>
                </c:pt>
                <c:pt idx="16">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AF4445C-C3E9-4E6D-95CF-1CD949A39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2DD6F72-2F98-446A-84F9-9DB0D3C5B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64EE144-CEDD-468A-BDBB-A789B63F5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56C5271-690D-4F41-9437-A54550AE3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184370F-9845-425E-B0F6-3D6BDE1CD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6D1F38-1A4A-41DD-A79D-B295BC56D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8EE3D6B-2EC4-445A-93F4-63C8ABD0A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300FFF4-B9A0-479B-BC0B-59E533320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A7DE602-5109-4428-9F90-2D44CCFAA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4973818-E1F5-4D72-8ACB-059985D52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1AF0DC9-CFC7-4469-8D27-C48437FFC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4F93954-0D91-459E-ADDD-0BF5A4B88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E017C3D-E462-421A-8DF3-CD313188D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3DCF605-AD68-4C1D-9A96-E5B88CA11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BDD41AE-68C7-4A1B-92F8-04CDBC14B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A86B25F-3363-4711-9B7F-89E4F5FA8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8A58BE5-4FFC-4672-A0DF-F18486630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B0CCC06-CF40-4697-A47F-4E224C917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F58E123-CA31-47BB-BE1D-17722A19C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142FEE0-B7E2-4CFE-AF09-1424978B0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E6BDDE0-556C-414D-B515-5B981844A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F596DA3-B093-4380-8700-B17C7575A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9E01A77-10BE-4E48-8F02-F152CF99A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38F5788-F94B-45E0-9D4F-79A37C555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3F5CE0B-7D38-45C1-9010-4BF141EA7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028E2C0-D2AA-4DEF-8A5D-D42A8D970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7184C4E-91E6-42C7-8A29-B18C837BD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8BEE867-6468-4573-A0E7-506766A2C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C06BD70-8E42-4623-8702-B400B6E55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A922313-73E9-4AEB-9378-ECEAD9C4B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D6CFC8D-5E61-48E8-9C00-8C428DE03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139A78B-AA91-4D01-B711-F5BD3C4BE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00F6937-72E0-45C2-B1B6-D44D5FFF9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AEBF132-3347-4D25-BADD-DA0A33F50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B35BAEF-A79F-4A9E-AED8-C2C4343A5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898E92E-918A-497B-BA7A-68594FBF8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FA33036-AF38-4E3E-9FB4-89EEB73CB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431905E-2A53-45B2-A568-F8B62BC83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9712E66-7577-46D0-94E3-55FE94D32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13A5F6A-79BF-418C-A7A0-898AABB4E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BBE557B-A42D-457C-95D8-7FE576A42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7E803B6-A107-45C5-862C-748151779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888C206-94CC-4047-81DC-91C7E710C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4E44781-5885-4E72-81D9-7EE93C34F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1DAAF2E-405D-474E-B7B7-D2C34DCBC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E790D6C-27EB-46FF-B91D-5713F8321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2D278E8-77EE-466D-A45D-0CF7589D4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C33B29E-C367-4319-8810-4B1E610F2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9639A42-0365-4AB4-93F7-B90219065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FCA4C3B-27AF-4549-B00F-4DAFDC8B1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576FD6D-7AAC-45CA-9C08-FF5537DF1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BA6A2E4-3EE7-4DA3-A4AA-E368EDDD5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C296956-9FB2-4030-BB0F-D2A3F18C6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DF00F98-2D68-4CCE-AF94-586542B1E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492524C-C3D9-470D-B18C-4D12ACF1B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C11C16B-5CCE-4C83-B5B1-EFB14EEB0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50794FC-6627-4F42-B9B7-B449438DC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6</c:v>
                </c:pt>
                <c:pt idx="1">
                  <c:v>0.3464</c:v>
                </c:pt>
              </c:numCache>
            </c:numRef>
          </c:xVal>
          <c:yVal>
            <c:numRef>
              <c:f>Sheet1!$B$2:$B$3</c:f>
              <c:numCache>
                <c:formatCode>General</c:formatCode>
                <c:ptCount val="2"/>
                <c:pt idx="0">
                  <c:v>0.3715</c:v>
                </c:pt>
                <c:pt idx="1">
                  <c:v>0.7142</c:v>
                </c:pt>
              </c:numCache>
            </c:numRef>
          </c:yVal>
          <c:bubbleSize>
            <c:numRef>
              <c:f>Sheet1!$C$2:$C$3</c:f>
              <c:numCache>
                <c:formatCode>General</c:formatCode>
                <c:ptCount val="2"/>
                <c:pt idx="0">
                  <c:v>6680.846153846154</c:v>
                </c:pt>
                <c:pt idx="1">
                  <c:v>5990.2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22D1E4E-30C3-465A-880A-D1084FC14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2EBE21B-84E5-457B-9572-FB86EBF01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550DE4-7BE8-4C6C-ADBD-EA9F73D21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C65A5B-2C07-4142-A1C5-AD59CDB45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E75E0AA-7AE9-48BB-8318-6F6B9F67B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BC2B83D-F8EC-4031-8924-BEDC27093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9B023D6-D5F8-402D-AEA0-BC7B911C4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D34C7D-99B8-45A2-91FB-F25B75FBF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4C8ADA9-BE09-458E-AF39-D9562CE71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6923668-D6D7-4828-8500-D00B72874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A102BD3-EEFF-4858-AA5B-3CE73AE37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F4CCDEE-0BC1-4B50-8CD4-954DB5D3B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5891C74-3E8A-4E5F-BA50-B7CE58C27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D09E44B-B416-4FE4-BE3B-F6E5A3FB3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4CEA9E9-43EC-40EF-96B2-A21C76F32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F0BA5ED-C1D4-457B-8F19-1DA1A231D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184CE62-AF49-4A07-9831-5706F4D66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7DDB7DE-5291-4A54-9B22-0A1B0926A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8AFD182-A646-461B-9D79-C7B952253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4C2D30D-3D6D-425E-8EA6-E482C42F9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67D1F84-0394-4830-B520-89D05E080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2A00769-AB30-4C66-9F2D-D3D832007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3A1F8A9-64BE-4F2E-86D0-BF3DDD702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9736DCC-03AD-42D5-8969-7D95C4B0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A2C0DA5-E535-448B-A383-1FCCCEFDC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FA5D207-4523-4068-BD70-A5F8B2206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FAC23CD-95E0-4497-8364-F5B539CA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4337B44-B8AA-4C85-92D4-512AAC6C5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358BE5B-D6FA-4E67-A03F-7D671E64A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C709B1A-AD8E-40EB-99FC-1B84D22F2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AFAD082-1432-4BFE-A63D-630FD73F4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D0DFBFA-D1DE-4F43-B55A-E16CA0425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3FF80D9-8400-4F38-A1CE-2667A1925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E4FE01E-BA4A-4D82-8697-3F0C69801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224C77D-E5D8-4DDC-9625-658C25EF6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1ACD7FE-08D1-4472-AC39-DF7D0A897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463FE2A-0DF3-457E-B11E-01F359662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46DDB03-7E1B-4F21-A5F6-4BDCC4A2E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713BDE0-26CD-4CC6-8992-6AF3D8FB2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8ABF763-2367-4FBD-8A6B-A80C4E507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B781927-8793-46F3-BEB0-2840382C8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2A7DB65-61F5-451F-B02A-78DBA5082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7F76595-ADE1-4E22-AB02-7C9AF111A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31CAC92-CC31-4D63-88E2-2F8117D4A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68BEE9D-FDA1-4DCE-96F0-90C64B781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FA9E525-F568-4332-8869-500856F26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C2E8A37-F97F-42AB-8C7C-44FE80D40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A7ABE21-1E4F-4109-997B-EDF3D1E9F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583336A-C01D-401C-AD59-81C83D892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CC4615A-8445-444C-BB99-C36A0ECA1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5B106F6-F10A-4BA8-9679-C2038588F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8090CAF-05C1-45DF-AC0D-C3F5F47FE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D0CA8C4-556E-4261-BC2C-2C0838EEF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F273576-3F1B-4808-AB1D-41BB6E654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55A2BF8-D042-4438-A8B1-F9D739D10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07BB2EF-BDEF-4295-9A6A-B1551CB5F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53CC799-1C18-4BC5-93A3-09FC6FC15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33</c:v>
                </c:pt>
                <c:pt idx="1">
                  <c:v>0.4884</c:v>
                </c:pt>
                <c:pt idx="2">
                  <c:v>0.4467</c:v>
                </c:pt>
                <c:pt idx="3">
                  <c:v>0.3987</c:v>
                </c:pt>
                <c:pt idx="4">
                  <c:v>0.5471</c:v>
                </c:pt>
                <c:pt idx="5">
                  <c:v>0.4478</c:v>
                </c:pt>
                <c:pt idx="6">
                  <c:v>0.2977</c:v>
                </c:pt>
                <c:pt idx="7">
                  <c:v>0.4032</c:v>
                </c:pt>
                <c:pt idx="8">
                  <c:v>0.4065</c:v>
                </c:pt>
                <c:pt idx="9">
                  <c:v>0.4301</c:v>
                </c:pt>
              </c:numCache>
            </c:numRef>
          </c:xVal>
          <c:yVal>
            <c:numRef>
              <c:f>Sheet1!$B$2:$B$11</c:f>
              <c:numCache>
                <c:formatCode>General</c:formatCode>
                <c:ptCount val="10"/>
                <c:pt idx="0">
                  <c:v>0.4911</c:v>
                </c:pt>
                <c:pt idx="1">
                  <c:v>0.4198</c:v>
                </c:pt>
                <c:pt idx="2">
                  <c:v>0.4934</c:v>
                </c:pt>
                <c:pt idx="3">
                  <c:v>0.6837</c:v>
                </c:pt>
                <c:pt idx="4">
                  <c:v>0.4798</c:v>
                </c:pt>
                <c:pt idx="5">
                  <c:v>0.5166</c:v>
                </c:pt>
                <c:pt idx="6">
                  <c:v>0.0104</c:v>
                </c:pt>
                <c:pt idx="7">
                  <c:v>-0.0026</c:v>
                </c:pt>
                <c:pt idx="8">
                  <c:v>0.7091</c:v>
                </c:pt>
                <c:pt idx="9">
                  <c:v>0.7317</c:v>
                </c:pt>
              </c:numCache>
            </c:numRef>
          </c:yVal>
          <c:bubbleSize>
            <c:numRef>
              <c:f>Sheet1!$C$2:$C$11</c:f>
              <c:numCache>
                <c:formatCode>General</c:formatCode>
                <c:ptCount val="10"/>
                <c:pt idx="0">
                  <c:v>76941.12121212122</c:v>
                </c:pt>
                <c:pt idx="1">
                  <c:v>26568.493506493505</c:v>
                </c:pt>
                <c:pt idx="2">
                  <c:v>29486.863157894735</c:v>
                </c:pt>
                <c:pt idx="3">
                  <c:v>8564.56338028169</c:v>
                </c:pt>
                <c:pt idx="4">
                  <c:v>32042.24742268041</c:v>
                </c:pt>
                <c:pt idx="5">
                  <c:v>33695.24731182796</c:v>
                </c:pt>
                <c:pt idx="6">
                  <c:v>14956.69387755102</c:v>
                </c:pt>
                <c:pt idx="7">
                  <c:v>32799.73737373737</c:v>
                </c:pt>
                <c:pt idx="8">
                  <c:v>32905.13333333333</c:v>
                </c:pt>
                <c:pt idx="9">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B064B48-D90C-4EBD-84E2-33070F6AA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DFC45A4-63FE-419D-947A-EB4E4C3BD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C5968F8-C107-4B70-AABF-669736B0A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47C29EC-53A6-4D56-977B-13A3B29B4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7DFA492-008D-42F1-BBE1-229A881D1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CF8F52E-2E89-4963-99E5-D3C07D774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F82201A-0CEC-45D4-906D-5368EAE65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FCE16F9-3AF9-4E72-A5F9-037F0A78D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F9C0C19-D0A3-4422-98EA-BD4943444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A4B226C-7926-4BFC-BD4F-DA8CA71EE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2072018-E896-4BA3-9349-A56F3B015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27AD12E-C4F8-465B-9E39-49FB57759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4723D12-9EA2-46A9-A417-D7AD1663C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FA9BA83-088C-4FC0-9A71-48FC5E05B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EA21F86-CB5F-4BBA-8B1C-740183983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F55C84A-DEEB-4097-B249-08590239A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6B8B96D-7C26-443E-9F88-DF9A619E7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8C75CB6-8B13-4FD9-9950-B74320249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C184EA9-17D2-4E8B-BF42-FC3EF8AB3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FA0090B-66D6-4E4C-B261-A9AA63F61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C844141-152B-4403-A04B-D87025A3A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82DE243-E694-4670-8C2B-53485AF78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CF26389-53F7-4E6B-A8EE-057A9486A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39687DD-5281-4B40-853D-AC489A3B2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63CD5F6-6FCA-4756-8747-9F184C214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8E24251-B4F1-406B-A508-62E2805B8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38B4419-49D3-4479-B6E8-21D2ADAF8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21B47C8-9EDF-4344-85C3-0BA41A862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9C5FD4F-0E42-4B4F-BB50-13390D0D1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E8346F1-F9F8-4AF5-915F-051A986F6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6794240-09D0-4D0E-BBC5-6955D222A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67FE4F4-DFB6-4B6F-A736-0E4257660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9C21037-FF88-4A86-AE43-D005740F3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89ED0C2-D651-4AE2-8C2D-BD828CA86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523667C-9287-426A-B022-330068A39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43C1C34-1FFC-475D-9B4E-938738AA7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DA78A5A-443B-4B71-BF78-BA8B4A4F5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32C8644-D0B9-4F86-A177-3AE9D37ED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08AA02C-453B-401E-9F47-19F11C9B2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5750314-D2F8-4170-AFF1-12E9FDF75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E31E981-58CA-44F9-BAEF-2D9829FB0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FA84E9B-02BC-4F1D-92AA-80AF0954F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6471357-CA08-48E7-98B4-6C4EBB1E2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1BCD568-6FBD-40D7-BD12-346A774A6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A64F6AA-E027-4602-B193-9D2B1FF94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52AA799-406D-4295-BCEF-B9AF4947D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9451440-449C-4213-9A2F-308595844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A892385-FBBB-4A6F-8206-B10F30251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388B0A9-49C4-4163-8D1F-785D88624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D2DFF0E-0848-4AEA-82BA-1A6F17C78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E0B8ED5-AB44-4615-874E-F492A1FCE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FF48C09-1D9F-4A49-A30F-01879AA54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1BCD7B8-224E-418B-8D9C-F89C31767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4A43AB5-2F2A-4A52-B871-9969AF886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9E1AE04-AD44-4B37-9801-3C153F238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FDE9FFD-5793-4FB2-9F9A-B6564FDA7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B42926A-E9D3-4E19-BA76-7563D62EA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6831</c:v>
                </c:pt>
                <c:pt idx="1">
                  <c:v>0.2606</c:v>
                </c:pt>
                <c:pt idx="2">
                  <c:v>0.223</c:v>
                </c:pt>
                <c:pt idx="3">
                  <c:v>-1.6975</c:v>
                </c:pt>
                <c:pt idx="4">
                  <c:v>0.361</c:v>
                </c:pt>
                <c:pt idx="5">
                  <c:v>0.3461</c:v>
                </c:pt>
                <c:pt idx="6">
                  <c:v>0.2203</c:v>
                </c:pt>
                <c:pt idx="7">
                  <c:v>0.3702</c:v>
                </c:pt>
                <c:pt idx="8">
                  <c:v>0.3675</c:v>
                </c:pt>
                <c:pt idx="9">
                  <c:v>0.3194</c:v>
                </c:pt>
                <c:pt idx="10">
                  <c:v>0.2809</c:v>
                </c:pt>
                <c:pt idx="11">
                  <c:v>0.2951</c:v>
                </c:pt>
                <c:pt idx="12">
                  <c:v>0.3517</c:v>
                </c:pt>
                <c:pt idx="13">
                  <c:v>-0.6721</c:v>
                </c:pt>
                <c:pt idx="14">
                  <c:v>0.321</c:v>
                </c:pt>
                <c:pt idx="15">
                  <c:v>0.3496</c:v>
                </c:pt>
                <c:pt idx="16">
                  <c:v>0.3918</c:v>
                </c:pt>
              </c:numCache>
            </c:numRef>
          </c:xVal>
          <c:yVal>
            <c:numRef>
              <c:f>Sheet1!$B$2:$B$18</c:f>
              <c:numCache>
                <c:formatCode>General</c:formatCode>
                <c:ptCount val="17"/>
                <c:pt idx="0">
                  <c:v>0.6078</c:v>
                </c:pt>
                <c:pt idx="1">
                  <c:v>0.3363</c:v>
                </c:pt>
                <c:pt idx="2">
                  <c:v>0.2544</c:v>
                </c:pt>
                <c:pt idx="3">
                  <c:v>0.797</c:v>
                </c:pt>
                <c:pt idx="4">
                  <c:v>0.5238</c:v>
                </c:pt>
                <c:pt idx="5">
                  <c:v>0.4895</c:v>
                </c:pt>
                <c:pt idx="6">
                  <c:v>0.6948</c:v>
                </c:pt>
                <c:pt idx="7">
                  <c:v>0.6218</c:v>
                </c:pt>
                <c:pt idx="8">
                  <c:v>0.6037</c:v>
                </c:pt>
                <c:pt idx="9">
                  <c:v>0.6295</c:v>
                </c:pt>
                <c:pt idx="10">
                  <c:v>0.7271</c:v>
                </c:pt>
                <c:pt idx="11">
                  <c:v>0.6515</c:v>
                </c:pt>
                <c:pt idx="12">
                  <c:v>0.7677</c:v>
                </c:pt>
                <c:pt idx="13">
                  <c:v>0.7947</c:v>
                </c:pt>
                <c:pt idx="14">
                  <c:v>0.6903</c:v>
                </c:pt>
                <c:pt idx="15">
                  <c:v>0.6351</c:v>
                </c:pt>
                <c:pt idx="16">
                  <c:v>0.5305</c:v>
                </c:pt>
              </c:numCache>
            </c:numRef>
          </c:yVal>
          <c:bubbleSize>
            <c:numRef>
              <c:f>Sheet1!$C$2:$C$18</c:f>
              <c:numCache>
                <c:formatCode>General</c:formatCode>
                <c:ptCount val="17"/>
                <c:pt idx="0">
                  <c:v>1754.0</c:v>
                </c:pt>
                <c:pt idx="1">
                  <c:v>14944.044795783924</c:v>
                </c:pt>
                <c:pt idx="2">
                  <c:v>17159.559193954658</c:v>
                </c:pt>
                <c:pt idx="3">
                  <c:v>897.7777777777778</c:v>
                </c:pt>
                <c:pt idx="4">
                  <c:v>42879.101283880176</c:v>
                </c:pt>
                <c:pt idx="5">
                  <c:v>7261.435331230284</c:v>
                </c:pt>
                <c:pt idx="6">
                  <c:v>75823.49665924277</c:v>
                </c:pt>
                <c:pt idx="7">
                  <c:v>42642.53684210526</c:v>
                </c:pt>
                <c:pt idx="8">
                  <c:v>21416.964285714283</c:v>
                </c:pt>
                <c:pt idx="9">
                  <c:v>6803.554502369669</c:v>
                </c:pt>
                <c:pt idx="10">
                  <c:v>21518.936170212764</c:v>
                </c:pt>
                <c:pt idx="11">
                  <c:v>51342.777129521586</c:v>
                </c:pt>
                <c:pt idx="12">
                  <c:v>52579.06283280085</c:v>
                </c:pt>
                <c:pt idx="13">
                  <c:v>5644.0</c:v>
                </c:pt>
                <c:pt idx="14">
                  <c:v>68443.00636942674</c:v>
                </c:pt>
                <c:pt idx="15">
                  <c:v>6009.776785714285</c:v>
                </c:pt>
                <c:pt idx="16">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23785C2-AB2D-4202-87AD-FCECFA185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00FFC3F-4116-4280-A1CE-C96D1C200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AF89E83-12C6-43D0-8F15-723A20921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4E0AA29-76FD-4DD1-80D4-5CFA89896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9EAD13F-4DB7-4978-A6DE-A86F9A27C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28CC888-43C5-4C58-957E-7F266A41E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ECBCA9E-B660-44EA-98A4-325B7E2E5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8AA088C-3037-4614-858A-6D0F2EAB5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93</c:v>
                </c:pt>
                <c:pt idx="1">
                  <c:v>1.324</c:v>
                </c:pt>
              </c:numCache>
            </c:numRef>
          </c:xVal>
          <c:yVal>
            <c:numRef>
              <c:f>Sheet1!$B$2:$B$3</c:f>
              <c:numCache>
                <c:formatCode>General</c:formatCode>
                <c:ptCount val="2"/>
                <c:pt idx="0">
                  <c:v>0.3686</c:v>
                </c:pt>
                <c:pt idx="1">
                  <c:v>0.6553</c:v>
                </c:pt>
              </c:numCache>
            </c:numRef>
          </c:yVal>
          <c:bubbleSize>
            <c:numRef>
              <c:f>Sheet1!$C$2:$C$3</c:f>
              <c:numCache>
                <c:formatCode>General</c:formatCode>
                <c:ptCount val="2"/>
                <c:pt idx="0">
                  <c:v>11591402.168600013</c:v>
                </c:pt>
                <c:pt idx="1">
                  <c:v>4851507.52330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88"/>
          <c:min val="0.2394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130610048286"/>
        <c:crossBetween val="midCat"/>
      </c:valAx>
      <c:valAx>
        <c:axId val="1011451359"/>
        <c:scaling>
          <c:orientation val="minMax"/>
          <c:max val="1.14636"/>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0163941876932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E66B343-C4DE-4F17-AE9A-57500E55C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532E925-8663-4AC4-A1EA-8ADD66EDA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C9650B1-9A7F-4067-9B91-2DD0A8253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17C694-A48D-4177-B9E6-B24163994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BD065DC-2CBD-4EF9-B1A9-3B69DD5DE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DC739DA-F4A8-454F-B085-51D4D18C4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52D3E25-6EA4-4003-9D89-3FC4F6D45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7E0140F-A798-4B6C-A92E-31F95CF77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5EA3A1A-DD70-4F48-9B16-89DF8EF9E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DF5DD26-356A-4B6F-8B7D-3FC016404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F6F33E4-A1CA-452D-8200-62C1B2AE6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93BC042-E610-4F8F-BFC2-08A6A76F6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4C7F8FE-DAC8-4FE1-B4FF-1B67289E0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1565654-F7A6-4ED1-BED9-EB466B4E2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5277E1D-E704-428F-92B5-759320FE2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5E16832-3470-4ADA-BA6E-CCC980D94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1770307-177E-40F8-8B01-5124EA092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9886405-D8CA-47DB-B9DF-5DE76AEF0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CB3959D-2374-4175-8706-B573E9FE0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181FF3D-8C8D-4E51-B72F-151216A20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3DC5FCE-6BF8-4346-89A3-F1DD1B357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1249053-2C2A-454C-A5BE-F429CBCD4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64D2BAB-45F8-4122-A604-37FCFF973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F7AF08C-292C-4F54-870E-2C6672B9A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3435675-363F-42B6-B67D-02D19C917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B72B6E4-254B-402F-B44A-2BA24C624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07A98BA-F473-4800-A4C2-BFBBFB3BF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AA4DBEE-437D-468F-BC6D-53F0D5885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8456C08-0B1C-4E3C-AC92-D7A456313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1B7619E-0475-4489-AF72-0C35A27A5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72BB591-EB3E-4A7D-B456-30B1E89E5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559936A-63BE-4901-BCF9-F8C4CED7F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0A6D583-B116-478C-8CE3-03F12F9C2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98F6289-40E7-4634-8284-B5D1F0F5A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D81B26E-C7C9-4BA6-830F-4BE52D675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0B61FE8-B53A-42C5-B8F8-1DDA73777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3D3FBEF-8E15-4584-BD9E-FE758AB16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833C9CE-C546-4509-A280-5550BDA5B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0883B9A-8575-49CC-AE00-11EE64472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772420D-122A-4C9F-9003-09DDD98A9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7BA0005-5806-4005-910B-5821BB3FD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A6C6D29-6924-4499-BD14-851F788A6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2734766-D843-4F0B-BFF4-94043A61A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5E8BA5B-5112-4507-A2B7-6FA3E3AFE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07FACED-8BDF-4F74-9B50-EBCC44F5F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51E7892-A772-473F-8975-939D63677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BD6B603-0527-4CAE-8A82-C0B2238A8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5B949A2-44F0-4B94-953E-CF1A9577A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B0A23AE-08C4-42C1-93CA-C1D4ECF30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CCB92D4-73A1-4130-9959-5BBA8F19D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A05D555-D816-48E4-9043-BFC62A1A7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5E477A9-097D-4E71-B7D7-6F4F6D360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290BE7A-1E2F-4F03-9334-EB831DA4A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D32B8BC-1FE0-434E-8290-F6B9891DD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8652902-2ACA-449E-ACC5-F1A133E8C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34759E7-5AFF-4D8A-AEB0-7CF39F595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2A8C7B0-B15E-4E51-9128-B3697B185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c:v>
                </c:pt>
                <c:pt idx="1">
                  <c:v>0.3456</c:v>
                </c:pt>
              </c:numCache>
            </c:numRef>
          </c:xVal>
          <c:yVal>
            <c:numRef>
              <c:f>Sheet1!$B$2:$B$3</c:f>
              <c:numCache>
                <c:formatCode>General</c:formatCode>
                <c:ptCount val="2"/>
                <c:pt idx="0">
                  <c:v>0.3715</c:v>
                </c:pt>
                <c:pt idx="1">
                  <c:v>0.7136</c:v>
                </c:pt>
              </c:numCache>
            </c:numRef>
          </c:yVal>
          <c:bubbleSize>
            <c:numRef>
              <c:f>Sheet1!$C$2:$C$3</c:f>
              <c:numCache>
                <c:formatCode>General</c:formatCode>
                <c:ptCount val="2"/>
                <c:pt idx="0">
                  <c:v>7625.128205128204</c:v>
                </c:pt>
                <c:pt idx="1">
                  <c:v>6750.31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D42F43B-5A52-499C-9121-22F3FA056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08E51D7-1B7F-4C3C-B0BE-BF4DA24B8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E60F800-6035-41FF-A838-3C84471C4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001403-1D9E-4104-9F01-EA2F41B5E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39FA468-C266-419E-BE5E-10BD16C8F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2C83824-1F43-4515-A12D-489CD136A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871AAB1-928B-4E4A-AFCD-3E0FCF6D7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3435631-783C-4CC1-B58E-872B764B5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23201B2-9678-44D3-AE2D-3A536D82B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00ED87A-9770-4E8A-A4FA-2A6726F58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131B971-F635-47A1-B69D-FA890BA8A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6963A31-9F03-4874-BE00-079E01C04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A926B0D-2AB8-4450-9971-C68F15884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10B9E83-4551-4F1C-B939-16584F0EB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9BC5816-2E82-4FDF-9146-A2A9CB8C7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5F51CD4-4557-4F25-94B9-C4A1FA8FE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9F1D8E0-3E6E-468E-B125-83BE7B198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C7AA004-E1D8-4DF6-B98A-C86BD3DC9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BCEDED2-4F32-4C73-8CAA-4F2EEC075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B8C281E-6759-4E9D-8A6B-B3BF8FFE7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87ADE7B-88D3-434B-9BF7-D17AD5673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7E001AC-294E-4929-BD27-B66CDD4F8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695F704-5BB4-432A-B48C-342AD72F0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B1CE391-C927-4694-A238-B9ACD45E8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4DC9A07-3287-4D51-B971-BEBB2A51C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E2198DB-A2CA-4941-B140-43DE8BA5D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55DD463-64BF-43FB-B9DB-C597399C5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BF90431-DE82-4F63-B019-023D6EFD7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02A7D4F-0937-4FE1-8C01-FF186563B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BAE2B03-AFF3-4D26-93BB-9F0677F52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7EFCEE9-F612-4C70-9902-A9FB89AD9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807E334-1F08-47FF-8F9B-40FDF64F3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E00A81C-479B-4A75-B4CB-1850BBE5D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1CAEB9A-5F01-4101-8AE9-A21328687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94EF41C-A2C6-4436-AE9E-E991F340C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83C412C-D37B-4A0E-812D-544BD6154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15E09A4-2D9F-4AFB-8E3B-D79F8A188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39677DA-2793-443F-88EF-621786310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D092044-21D6-4533-8D31-324FE6BC4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F4FCFA0-1D87-4A1E-ACA3-ADEF1C213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8262696-7990-4D33-9CE1-5FB65322B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6C3CA4C-0D6E-4EDE-B8C4-E5452516C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C1578EA-4647-46E2-BA85-F1AC2A542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BB6BF01-3D15-439A-B87A-AEC06D257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8E4B5C5-4819-4E82-A8AE-0DA0A2500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1443309-D446-4C5B-AA1A-2CBE71932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8AED76F-0330-44CD-B99A-B40AC03EA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4505B72-0AF4-4540-AADE-F56AAD5A3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F115036-4080-4D3C-9652-C1A86613E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E484FDF-6FDA-422B-84DD-44B688229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2961AEB-8966-4FB0-989B-053DBB6CF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89AC731-B2D8-43F2-8AB7-2020CE5B3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93DFCFD-81A4-45CE-8FF5-3A825A77C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3597D13-C648-4EB2-BBB7-29434CD09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A8468A3-026F-418A-8F9F-65EFCA13A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7DEEE5F-54CA-4B6E-AE00-BF804CD68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D75411D-2C61-41A9-966F-FED92A3E3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051</c:v>
                </c:pt>
                <c:pt idx="1">
                  <c:v>0.4837</c:v>
                </c:pt>
                <c:pt idx="2">
                  <c:v>0.4884</c:v>
                </c:pt>
                <c:pt idx="3">
                  <c:v>0.4473</c:v>
                </c:pt>
                <c:pt idx="4">
                  <c:v>0.3987</c:v>
                </c:pt>
                <c:pt idx="5">
                  <c:v>0.5474</c:v>
                </c:pt>
                <c:pt idx="6">
                  <c:v>0.4477</c:v>
                </c:pt>
                <c:pt idx="7">
                  <c:v>0.299</c:v>
                </c:pt>
                <c:pt idx="8">
                  <c:v>0.4032</c:v>
                </c:pt>
                <c:pt idx="9">
                  <c:v>0.4029</c:v>
                </c:pt>
                <c:pt idx="10">
                  <c:v>0.43</c:v>
                </c:pt>
              </c:numCache>
            </c:numRef>
          </c:xVal>
          <c:yVal>
            <c:numRef>
              <c:f>Sheet1!$B$2:$B$12</c:f>
              <c:numCache>
                <c:formatCode>General</c:formatCode>
                <c:ptCount val="11"/>
                <c:pt idx="0">
                  <c:v>0.7386</c:v>
                </c:pt>
                <c:pt idx="1">
                  <c:v>0.4911</c:v>
                </c:pt>
                <c:pt idx="2">
                  <c:v>0.4198</c:v>
                </c:pt>
                <c:pt idx="3">
                  <c:v>0.4934</c:v>
                </c:pt>
                <c:pt idx="4">
                  <c:v>0.6837</c:v>
                </c:pt>
                <c:pt idx="5">
                  <c:v>0.4797</c:v>
                </c:pt>
                <c:pt idx="6">
                  <c:v>0.5165</c:v>
                </c:pt>
                <c:pt idx="7">
                  <c:v>0.0105</c:v>
                </c:pt>
                <c:pt idx="8">
                  <c:v>-0.0026</c:v>
                </c:pt>
                <c:pt idx="9">
                  <c:v>0.7091</c:v>
                </c:pt>
                <c:pt idx="10">
                  <c:v>0.7317</c:v>
                </c:pt>
              </c:numCache>
            </c:numRef>
          </c:yVal>
          <c:bubbleSize>
            <c:numRef>
              <c:f>Sheet1!$C$2:$C$12</c:f>
              <c:numCache>
                <c:formatCode>General</c:formatCode>
                <c:ptCount val="11"/>
                <c:pt idx="0">
                  <c:v>779.0</c:v>
                </c:pt>
                <c:pt idx="1">
                  <c:v>88856.37563451777</c:v>
                </c:pt>
                <c:pt idx="2">
                  <c:v>31615.113182423436</c:v>
                </c:pt>
                <c:pt idx="3">
                  <c:v>34693.635394456294</c:v>
                </c:pt>
                <c:pt idx="4">
                  <c:v>10233.439767779391</c:v>
                </c:pt>
                <c:pt idx="5">
                  <c:v>37190.41710114703</c:v>
                </c:pt>
                <c:pt idx="6">
                  <c:v>39700.24149286498</c:v>
                </c:pt>
                <c:pt idx="7">
                  <c:v>17923.486707566462</c:v>
                </c:pt>
                <c:pt idx="8">
                  <c:v>38983.218623481785</c:v>
                </c:pt>
                <c:pt idx="9">
                  <c:v>38536.181506849316</c:v>
                </c:pt>
                <c:pt idx="10">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7C5919C-4469-41F3-97B6-07AF1FE5C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DD2FF83-BE0C-4A4A-ADA0-FC94D1AD7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369ADE-0B35-491C-9E34-775AD2CA3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8472690-D53E-4856-BE17-16C692D48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BE848C4-E2F6-4DFB-8FA2-28448BA9F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C02D90F-D818-4CC5-B169-00D0272F2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EEDC4CD-85FA-4C41-801D-69F5E680D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7D05EE8-E00F-4088-A48F-39DA37A37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9F6FFD4-EF14-4CEE-83F8-BE931D081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294B4DA-A3DB-4E42-AF76-CCA05CF82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24C8FFD-2F04-439C-8D70-84D4D8E75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E353F9F-934F-42FE-8B6E-9545C5FCD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BFBE52A-0E33-4094-9A88-CE723365F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047B3B8-E96C-4782-BE06-5DCC9D0D7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BFDBFE9-D1EB-478A-96B4-AE12EBC8C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1225CFD-2150-47D2-9B06-2072CE4C1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E317C34-FBF3-4DEC-8BE5-080974BB0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769FAFB-DC0F-42BC-A74E-A437D40A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A0BDFA4-2189-4B5D-B9F4-92FAABF4A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DB9A124-45F1-4172-9538-2CD1F81C0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7EE586F-9694-49AE-9E4A-11292274C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D363593-6358-490C-BAF3-010BC45AB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B826ADA-746B-4A38-988A-08E979EE0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B2F53A0-76D8-4A10-9C03-A39FCD54B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67B3D89-4FB9-42BE-B7EA-81245FBC6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BE9A8CD-6884-4327-B13F-BEE9EA2B8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D4413CB-D9D8-48B3-B8DA-A42C5D33A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AFA3E3F-1CC9-4FFB-A2EB-247BC92D7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E44BF9A-82B6-4311-893A-829363E4E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16E672B-F0A5-4F8E-9BC6-7DB30DEC5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F369EA9-B16A-4ADC-B587-5C0E34311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9416347-3597-4701-92D9-3EA423674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40F3800-BFF7-441A-A02E-18A82FC53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820E9C8-A09B-4201-AFD9-3A6FE26FF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FF4E01B-0EAC-4E1C-8911-995B25482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2B49E41-D9E1-4ED9-989C-600B7CAF4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DE9FDBD-4BDE-4A3E-A89E-FA760085E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7F9CC0B-28E6-4477-A6F7-DA16F72E4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D6CB258-E72D-42BF-886B-25A38C5C2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71CA192-9902-40E4-AB1B-03D9409EB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F655AA9-48E8-4256-B793-83FA4B669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29C0CD9-AD8C-4463-8634-1307E2F9E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D60C13F-6121-420F-8ECE-CAD00DE5E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150EAFD-591E-4117-81BB-0FEB053D8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D2813A1-0E69-454C-9362-9176CD48A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A3AFDF3-D6E9-4215-9C70-3FF022A3E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A750D10-108F-42EA-BA15-1349575F2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2AA5D22-1EDB-422E-9231-A86AA8AD4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20AD24D-6E64-4878-83B3-7BC31D3E6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CF1C078-43CB-4D60-A7B7-F58BDD8A4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F48B241-FC92-47A6-8910-CDA1796F1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B6E6BC4-E830-433A-B426-C281EE3B3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B2C1789-F7FE-41B1-8067-813D5DA6D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641BA22-2F3F-412E-BA9F-9F4F480BE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A50C665-6984-4AC6-8E62-92564B3C4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7F14A8D-3602-4242-B4A6-F42E76164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E06E216-82E2-46BE-BDE5-21D25A43A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585</c:v>
                </c:pt>
                <c:pt idx="1">
                  <c:v>0.3458</c:v>
                </c:pt>
                <c:pt idx="2">
                  <c:v>-0.2485</c:v>
                </c:pt>
                <c:pt idx="3">
                  <c:v>0.3705</c:v>
                </c:pt>
                <c:pt idx="4">
                  <c:v>0.3215</c:v>
                </c:pt>
                <c:pt idx="5">
                  <c:v>0.2958</c:v>
                </c:pt>
                <c:pt idx="6">
                  <c:v>0.3532</c:v>
                </c:pt>
                <c:pt idx="7">
                  <c:v>-0.9105</c:v>
                </c:pt>
                <c:pt idx="8">
                  <c:v>0.3205</c:v>
                </c:pt>
                <c:pt idx="9">
                  <c:v>0.3506</c:v>
                </c:pt>
                <c:pt idx="10">
                  <c:v>0.3919</c:v>
                </c:pt>
              </c:numCache>
            </c:numRef>
          </c:xVal>
          <c:yVal>
            <c:numRef>
              <c:f>Sheet1!$B$2:$B$12</c:f>
              <c:numCache>
                <c:formatCode>General</c:formatCode>
                <c:ptCount val="11"/>
                <c:pt idx="0">
                  <c:v>0.5245</c:v>
                </c:pt>
                <c:pt idx="1">
                  <c:v>0.4895</c:v>
                </c:pt>
                <c:pt idx="2">
                  <c:v>0.6969</c:v>
                </c:pt>
                <c:pt idx="3">
                  <c:v>0.622</c:v>
                </c:pt>
                <c:pt idx="4">
                  <c:v>0.6295</c:v>
                </c:pt>
                <c:pt idx="5">
                  <c:v>0.6518</c:v>
                </c:pt>
                <c:pt idx="6">
                  <c:v>0.7677</c:v>
                </c:pt>
                <c:pt idx="7">
                  <c:v>0.7947</c:v>
                </c:pt>
                <c:pt idx="8">
                  <c:v>0.6902</c:v>
                </c:pt>
                <c:pt idx="9">
                  <c:v>0.6351</c:v>
                </c:pt>
                <c:pt idx="10">
                  <c:v>0.5307</c:v>
                </c:pt>
              </c:numCache>
            </c:numRef>
          </c:yVal>
          <c:bubbleSize>
            <c:numRef>
              <c:f>Sheet1!$C$2:$C$12</c:f>
              <c:numCache>
                <c:formatCode>General</c:formatCode>
                <c:ptCount val="11"/>
                <c:pt idx="0">
                  <c:v>4859.933333333333</c:v>
                </c:pt>
                <c:pt idx="1">
                  <c:v>743.5416666666666</c:v>
                </c:pt>
                <c:pt idx="2">
                  <c:v>914.0</c:v>
                </c:pt>
                <c:pt idx="3">
                  <c:v>3557.604938271605</c:v>
                </c:pt>
                <c:pt idx="4">
                  <c:v>609.5901639344262</c:v>
                </c:pt>
                <c:pt idx="5">
                  <c:v>5031.307692307692</c:v>
                </c:pt>
                <c:pt idx="6">
                  <c:v>4400.727272727273</c:v>
                </c:pt>
                <c:pt idx="7">
                  <c:v>839.0</c:v>
                </c:pt>
                <c:pt idx="8">
                  <c:v>7307.553571428571</c:v>
                </c:pt>
                <c:pt idx="9">
                  <c:v>536.4366197183099</c:v>
                </c:pt>
                <c:pt idx="1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D098D8A-0230-4CBC-8E99-B77E0F2FA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CB75080-0FE5-4B1D-9616-94E7083EF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E725EA-6DF0-4635-BF83-44CB2E3C6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C53EC07-E345-467F-B505-6B7D43CD4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29B89C9-6BE3-4498-A0F1-C20E2A115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E59CCF9-7ABD-49D8-99FA-265C4E2EE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BE92EE6-E7F4-48D7-AB4E-FAA3E9F84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FB1AAE1-0E25-4DAC-B7A1-A62BDE974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B762B1D-FB4A-4038-B874-D652BC564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F427F40-F73A-4E45-BFB1-C0CAFF922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EED58BE-5FE0-4159-98E5-63ADE5C7C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46B8D29-18F0-40DE-9E6F-1C028A4EB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A0822A6-6D46-4ED0-8112-53C751ED4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FC79B50-5FBB-474E-84B2-7A6CE8E0A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F503C80-687A-4EEB-80D2-B86FC1AFF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2763512-824A-4A9C-9086-D43D76D5C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5157479-7D9D-4736-A49E-9E55E822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92AA81D-2C8C-4BC2-8F80-23D31D2DE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2854B69-6623-4E83-AF37-0CB54E17F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3E4B506-443D-402C-B7A3-CF981A532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7FC46A6-B000-4545-9EAF-5C709D1C9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F231BE8-5675-42F1-B168-BB1D1119A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23EE7A4-ABF3-4D33-8E6B-76C99A7B8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D833EA4-F25C-4ECD-8F1D-C970DE330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844E791-050E-4CEC-B0E5-C73B3BB50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877995C-2956-4C62-815B-A8312A620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8FCA474-593B-4F2D-9B17-90A81510F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6781F88-C7C0-4496-8980-129F00274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EB4E1C7-88AC-490A-8234-6A5D51BCA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31AC132-D5F6-40A0-9A45-CC1661FA8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5230E7C-E8E8-4C52-945F-F80FB588C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1399A0A-D97F-4140-BA80-342CF15DF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518AF66-A811-4602-B32D-B12819B74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2E2B019-62C4-4B23-BF35-D0DD9B075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6C0E082-8F11-44E5-A76C-3EA330BB0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959F9DC-5FCE-47DA-ADA7-D5AE5A5A1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29A5653-18E9-48B0-AD25-DF022E790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50D9A83-18D9-402B-A5FB-CBA175FD3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90D036C-FD02-4DC7-A4BB-717F2630A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9F241C0-A7AE-46A3-9BC3-755EE4DAA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2F9F02B-5A82-4B30-B420-03D6A5EFC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A1AB601-38C2-4565-BED9-7345A3B53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7917E59-118E-474A-A0A4-FD6F91F0A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6582C3F-7C2B-4DB3-AE4E-862B119CB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A050EEA-D024-46FE-88E4-408ED2400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3EFF5CE-6205-43AA-9AD4-D58ACB4F8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7903636-FFB5-4720-936D-CF16B40EE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EBB2967-DD3F-44D9-9347-A2A2DD301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56915DA-5A78-43F4-8C5A-B0007A380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7203075-0438-413E-BEF6-5E2874347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6DB380E-79BC-42F7-91EB-A219EC985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8FC7876-823E-436C-8EC9-9F8BA8F58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9B864FE-24C0-45D5-B5B7-7F9220DCC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FB89D02-588A-45F3-9A95-02FE3CC1C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9786888-3815-4896-B16A-7695F93F9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5C792CF-E9D1-442E-B86E-FDF1537EE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A5C3224-3179-4956-AA44-13F178350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44</c:v>
                </c:pt>
                <c:pt idx="1">
                  <c:v>0.4888</c:v>
                </c:pt>
                <c:pt idx="2">
                  <c:v>0.448</c:v>
                </c:pt>
                <c:pt idx="3">
                  <c:v>0.3989</c:v>
                </c:pt>
                <c:pt idx="4">
                  <c:v>0.5479</c:v>
                </c:pt>
                <c:pt idx="5">
                  <c:v>0.4473</c:v>
                </c:pt>
                <c:pt idx="6">
                  <c:v>0.3031</c:v>
                </c:pt>
                <c:pt idx="7">
                  <c:v>0.4032</c:v>
                </c:pt>
                <c:pt idx="8">
                  <c:v>0.3583</c:v>
                </c:pt>
                <c:pt idx="9">
                  <c:v>0.4303</c:v>
                </c:pt>
              </c:numCache>
            </c:numRef>
          </c:xVal>
          <c:yVal>
            <c:numRef>
              <c:f>Sheet1!$B$2:$B$11</c:f>
              <c:numCache>
                <c:formatCode>General</c:formatCode>
                <c:ptCount val="10"/>
                <c:pt idx="0">
                  <c:v>0.4909</c:v>
                </c:pt>
                <c:pt idx="1">
                  <c:v>0.4199</c:v>
                </c:pt>
                <c:pt idx="2">
                  <c:v>0.4936</c:v>
                </c:pt>
                <c:pt idx="3">
                  <c:v>0.6837</c:v>
                </c:pt>
                <c:pt idx="4">
                  <c:v>0.4789</c:v>
                </c:pt>
                <c:pt idx="5">
                  <c:v>0.5158</c:v>
                </c:pt>
                <c:pt idx="6">
                  <c:v>0.012</c:v>
                </c:pt>
                <c:pt idx="7">
                  <c:v>-0.0022</c:v>
                </c:pt>
                <c:pt idx="8">
                  <c:v>0.7091</c:v>
                </c:pt>
                <c:pt idx="9">
                  <c:v>0.7318</c:v>
                </c:pt>
              </c:numCache>
            </c:numRef>
          </c:yVal>
          <c:bubbleSize>
            <c:numRef>
              <c:f>Sheet1!$C$2:$C$11</c:f>
              <c:numCache>
                <c:formatCode>General</c:formatCode>
                <c:ptCount val="10"/>
                <c:pt idx="0">
                  <c:v>5807.010989010989</c:v>
                </c:pt>
                <c:pt idx="1">
                  <c:v>3302.698113207547</c:v>
                </c:pt>
                <c:pt idx="2">
                  <c:v>2923.9189189189187</c:v>
                </c:pt>
                <c:pt idx="3">
                  <c:v>1148.3170731707316</c:v>
                </c:pt>
                <c:pt idx="4">
                  <c:v>2862.6341463414633</c:v>
                </c:pt>
                <c:pt idx="5">
                  <c:v>3479.353846153846</c:v>
                </c:pt>
                <c:pt idx="6">
                  <c:v>1727.178947368421</c:v>
                </c:pt>
                <c:pt idx="7">
                  <c:v>3081.305263157895</c:v>
                </c:pt>
                <c:pt idx="8">
                  <c:v>3361.8</c:v>
                </c:pt>
                <c:pt idx="9">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8F24B49-DB05-4175-B2FC-B9F7F3929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951B5F6-F637-4849-A310-16B3ADB4B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2A110EC-1560-4970-ABF3-B7E5462E3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9DC3434-E94A-440E-BD7A-CAF417D08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B026A42-2BDF-4B5C-B448-DE0509FDF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F08F33C-9B0A-4979-8C94-1F417FC58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78E336C-1B24-4485-A2A1-85665EF50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30F64B3-8C8D-43E7-BD2F-A87343FC0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E749A54-D7F3-4D4F-B45D-31AD674C1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37AC677-DBE7-4795-A977-4E50C1F48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F6C47DF-9A23-4E3B-8F86-4D9242479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74C369C-C9FF-49F0-A7E1-51D94601E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7961AB1-96BD-46FA-8AB5-790F63F8D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E6D4734-13DF-41F7-B6D8-6369C8ACF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6749380-9CE5-4956-AFA2-A7E050F2E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7510C9C-52BF-4228-8EF1-D8CCABBBE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BEF0163-98CE-4B00-979E-39D982D91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640DDF8-BD2C-4408-9DDD-C58B45B0D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37AAC06-6DFB-4667-A239-B6066DA3B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D457C28-72DE-49F3-814C-084A1BC09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6166C94-7EA3-48A7-8CC4-C496E44C0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BEA365B-50AA-409A-B4AF-F364B06EF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9C03A52-235F-4BD5-BC41-01BDC9863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E236CFF-7BAD-4BE3-A656-18B617A51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F4612CF-A3A9-46C9-A5E0-1C45FACD0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3875D78-DF89-4044-9673-A329CB297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15F35AF-59F1-4898-9480-DE643AAB3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20D0C2F-9154-4D6D-B637-1593A7CAB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50B3577-99D0-4490-AF52-11F710781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EA5212E-7B83-479F-9B96-164E34924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AC8B0E5-3FB7-41F9-8AAE-A28D13318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D2F613D-1539-43B3-A4D8-4218E767E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FD8BC31-C085-41A6-8B6B-4CBBBF652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F523CF6-89CE-4CF5-8B60-8D1D43E08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DA88F0E-AFD9-4218-91A8-403678DC1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D6A4F8E-1ADE-4593-9ACC-9FCEFC042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A0C4D7E-3CBA-4F17-9CB8-93E13923A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BBAE317-B1ED-4D5D-ACC1-228E1D710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CC5CFD5-163E-48EF-92E7-3550B5FF4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45357BA-8293-4585-BCFF-AA315F6C5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BC486A1-17FF-4B62-87FF-C3446E32A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95AC243-4838-44D2-A81A-74D6F8AEC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2914160-775E-47A3-8206-B5E2CE326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CD348EB-E8B4-4272-BB41-7811C7CCC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579B98F-252F-4617-9AF5-0F0D5F7B1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BEC4B4E-EE13-466B-A4E7-636DD2D14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85BCC88-8D53-4E85-BEB9-84C1186FB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9A536E0-8B88-473F-9C11-B1FE0C944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3C63224-B60E-4BE0-BB4A-EBD93A276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8A0AF3B-DD0E-4DDF-A81C-09E162BE4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3E40221-DFD7-4834-8AA0-0CEC04541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A497992-4E10-446F-BD48-7B647D087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6FED3ED-5C94-47DA-8248-93E3B85C8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0AED8E0-D97E-4303-9281-044122045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038E6E4-3A6F-4FEC-BEA7-6859D6CDB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2133D32-4979-490E-923C-5BBCC814F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4946141-BD52-48E9-9FC1-BFA5CB748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6583</c:v>
                </c:pt>
                <c:pt idx="1">
                  <c:v>0.2228</c:v>
                </c:pt>
                <c:pt idx="2">
                  <c:v>-1.683</c:v>
                </c:pt>
                <c:pt idx="3">
                  <c:v>0.2205</c:v>
                </c:pt>
                <c:pt idx="4">
                  <c:v>0.3679</c:v>
                </c:pt>
                <c:pt idx="5">
                  <c:v>0.2843</c:v>
                </c:pt>
                <c:pt idx="6">
                  <c:v>-0.6417</c:v>
                </c:pt>
                <c:pt idx="7">
                  <c:v>0.3211</c:v>
                </c:pt>
                <c:pt idx="8">
                  <c:v>0.3918</c:v>
                </c:pt>
              </c:numCache>
            </c:numRef>
          </c:xVal>
          <c:yVal>
            <c:numRef>
              <c:f>Sheet1!$B$2:$B$10</c:f>
              <c:numCache>
                <c:formatCode>General</c:formatCode>
                <c:ptCount val="9"/>
                <c:pt idx="0">
                  <c:v>0.6078</c:v>
                </c:pt>
                <c:pt idx="1">
                  <c:v>0.2544</c:v>
                </c:pt>
                <c:pt idx="2">
                  <c:v>0.797</c:v>
                </c:pt>
                <c:pt idx="3">
                  <c:v>0.6948</c:v>
                </c:pt>
                <c:pt idx="4">
                  <c:v>0.6037</c:v>
                </c:pt>
                <c:pt idx="5">
                  <c:v>0.7271</c:v>
                </c:pt>
                <c:pt idx="6">
                  <c:v>0.7947</c:v>
                </c:pt>
                <c:pt idx="7">
                  <c:v>0.6903</c:v>
                </c:pt>
                <c:pt idx="8">
                  <c:v>0.5305</c:v>
                </c:pt>
              </c:numCache>
            </c:numRef>
          </c:yVal>
          <c:bubbleSize>
            <c:numRef>
              <c:f>Sheet1!$C$2:$C$10</c:f>
              <c:numCache>
                <c:formatCode>General</c:formatCode>
                <c:ptCount val="9"/>
                <c:pt idx="0">
                  <c:v>1414.0</c:v>
                </c:pt>
                <c:pt idx="1">
                  <c:v>14923.912087912087</c:v>
                </c:pt>
                <c:pt idx="2">
                  <c:v>789.0</c:v>
                </c:pt>
                <c:pt idx="3">
                  <c:v>66122.91836734694</c:v>
                </c:pt>
                <c:pt idx="4">
                  <c:v>19149.166666666668</c:v>
                </c:pt>
                <c:pt idx="5">
                  <c:v>19381.2</c:v>
                </c:pt>
                <c:pt idx="6">
                  <c:v>4359.0</c:v>
                </c:pt>
                <c:pt idx="7">
                  <c:v>57541.3875</c:v>
                </c:pt>
                <c:pt idx="8">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C20D891-9051-4E95-AEDC-BD5CDEEAB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27534A3-5BB1-4F73-8142-5A4670C21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F474A58-0836-47AA-9DFD-9F1B8CA5F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DCE6F64-FEFB-4350-B6D9-908CE2F80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73574EF-734A-4ACA-B603-AAFD1E7C4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8C93872-0B18-4D90-B666-DEA5262B0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9F8C4D8-4C43-47BD-A179-FCDB70FDE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0E593A3-3A7F-4612-B07C-D5F0675A1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D8937FF-0D66-4FAA-BEFC-F07A4CA7B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80031BC-4BFF-49DA-A60B-3F3CE5FCC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B117DBC-7183-46DD-B0E7-366DBD89B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A22F456-920A-4A94-8FA0-ECDE7DA7A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AE7DA0D-8A6B-4B02-9EE3-939ED61CA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93661C5-464B-43B7-B2A7-1AC21D09E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CD232B9-7A29-436D-BDB6-382F891AF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5135968-BABC-4CA9-BB6D-7051E3632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E20F87A-DEA2-4F9D-810B-4E583A78C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D82D5FF-BD53-4E00-B6BD-ED6D066F5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D875C38-28CE-4922-8957-0C4C256E9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B262311-5E74-4A84-94E0-B7F9A9EDA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9C1B7CE-2BED-4000-9712-0FE5C73D6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FA45AEF-7CEE-4C4E-8760-07349DB47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D072458-7FC0-4026-8509-27DE13A7A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1B232B6-18D8-4EAA-B52E-74D57B069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86C8B09-1B05-4597-A2B5-D3A99B019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6E7E0B9-1E22-4120-8969-6100269DE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9C1085D-3414-49DB-ADDD-CD347BFD0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A1941B9-6B82-494C-B881-7A368FB04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65D1E95-6748-4413-B1F6-297D6FB36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81FEFBC-2D1B-464F-9EC5-1C7F1AE25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D9E3ECA-392E-499A-B6EA-0586B4A2E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4D3A8C9-524B-4CD2-A83C-00880E85B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58D6C2D-A207-4621-B9D6-30C782F20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8A4FCDB-CAD6-485F-989D-575351330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CE7A458-0A03-403D-8DB9-A2C32D870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82CC02A-F79F-45CD-A60C-A4C278842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DDA15F2-034F-43C8-948C-AAB4CF91A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150C9FA-07C9-42FC-A896-D6A7E341A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A61386E-DD77-42F8-B488-28614353D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424515B-D3E3-4A78-913B-BD74FC25C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372F067-91D0-416C-B200-44FAEF07E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E67534D-310D-469B-B238-E5789123C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37678E6-5FAE-44B2-B09B-0E7A89932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F0D57CC-CE2E-4712-8394-8F9C00961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355FB05-7613-4C55-8362-A6D7625BB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559ECB9-0498-46CC-961E-9EE08CCB5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AD6CEFB-CE3E-4445-A019-AE825FA05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7D18B29-CC78-4FEE-98AE-F157CDE0C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778252B-86D4-4D57-B1D0-BCAA6A816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2BE4870-0F53-44CD-BF26-41AA6E705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900B92F-BDA2-4EAB-8A41-A472B593F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7816D39-D708-4A80-BF90-2F0A89BD0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EA7B7C3-D7E5-47B0-BC5D-0CBD7EBF8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5719670-61E8-4E5C-90ED-17A6686E6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A51D7F7-77D8-4220-AE85-9977774AA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4481BD9-60C2-4AD0-8E93-165DB5FD5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05F48F1-10E7-4BB1-8756-B661D391D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6</c:v>
                </c:pt>
                <c:pt idx="1">
                  <c:v>0.3464</c:v>
                </c:pt>
              </c:numCache>
            </c:numRef>
          </c:xVal>
          <c:yVal>
            <c:numRef>
              <c:f>Sheet1!$B$2:$B$3</c:f>
              <c:numCache>
                <c:formatCode>General</c:formatCode>
                <c:ptCount val="2"/>
                <c:pt idx="0">
                  <c:v>0.3715</c:v>
                </c:pt>
                <c:pt idx="1">
                  <c:v>0.7142</c:v>
                </c:pt>
              </c:numCache>
            </c:numRef>
          </c:yVal>
          <c:bubbleSize>
            <c:numRef>
              <c:f>Sheet1!$C$2:$C$3</c:f>
              <c:numCache>
                <c:formatCode>General</c:formatCode>
                <c:ptCount val="2"/>
                <c:pt idx="0">
                  <c:v>6680.846153846154</c:v>
                </c:pt>
                <c:pt idx="1">
                  <c:v>5990.2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7F388C7-15F0-4F3E-A922-70C99C057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F2FB8E5-2DB5-4F8E-9114-F317A241F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E74B64-816D-4EF1-B2C2-8F3A30C5E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9CCF31-2297-4F25-BEB2-44D7F19A3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3E4C7E2-FA8E-4251-BDF1-C3D83DBC1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23BB73D-A53A-4CEE-A0CD-C8E38983D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115A339-A6BD-4EEB-80D6-98BDCB5EA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5845E59-E92A-4A55-861C-CE5EC8725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C3289BC-DC17-4F51-A4BA-A09234F7A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C363064-B24C-4C1C-B09E-CDF031388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1408AA7-D78E-4522-AFCE-58DE57BBD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DB376AA-20AE-4DE4-A793-339DA5A11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EA2F2F9-342F-48CE-BEEF-346C970E2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A36C122-5167-4BEE-BC4C-E68BFDE1A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3C83234-1654-4DBC-B071-309FC7A2F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6B5CA8E-1F8E-4BBC-8F5A-302669C02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91DDD0B-1E0D-4BDD-9BCE-B0717B686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11009A8-5743-4702-B72B-4B27C75D9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9516945-F5DC-4884-A6D3-36B35F844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007C789-1239-4630-B5B4-77000383D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43D616E-4E8C-4BCC-8A35-62F45CA97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A97A22F-0C40-4383-B5F2-1EB826B6F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00060BC-3C94-43D0-AC8E-841AF4BE2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B2C2A5D-CA3A-40D8-AA4C-D6264523D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4E233B5-B7D9-49A2-9E65-7CD759EEF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08498CE-56D5-46C1-96BE-8461AECF1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EA7B2DF-C825-4F4F-B10D-B57C0AA81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D0A6712-25DE-4690-88E1-6A864997C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EFF8773-7CE4-4209-BC2A-FF5C86394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98AAB8B-0552-42CC-88FC-EB61B68C0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7B1C64B-E7E1-4E1B-A578-04C660354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60AE28A-FEE8-4AEE-A2D2-17FA23230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8E206DB-9F14-41A4-B5D3-F84C7A302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FB2C5B1-099C-4DA2-9303-99E3BBFD6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C07E3FB-324B-4C17-AA1E-67706B6F1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5940046-DE7A-42D7-B601-CEB626E06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9ECEC40-2F37-4C08-B95A-0951DA58D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45BAA31-949F-46F6-93FD-56980BAE3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BC1666D-A6E3-4C6A-8870-0A83DCF5E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601E107-42D9-4BF3-9893-E10811908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8D34840-D5FC-483B-8B25-74897C35B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169D24D-89DE-4C70-925A-522CDFC25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5789054-060B-4ACC-970E-49A6ABC4A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99F9D49-45D3-4D7D-9133-30BE8145C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12BED07-0326-4759-9F9F-21A5A0049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5DFCE1A-A7E1-4C90-8E09-C8F0DCFC2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9F8A747-7FD6-4553-A587-0913E6A19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32F3F1A-BE36-4F9D-82E6-34AD3E4B9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026FD59-6B60-42DC-8914-A1C5B7051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8CED23B-DDE1-41E6-A953-2EDE9D9D1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1076424-1B2B-44C5-A1C4-55B68A6E7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76563D5-EA0F-4DB7-98C0-B901A230B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098F9FB-C41C-48BF-94DB-B2799D97F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F50949C-14DB-4B0E-B5E6-1FE45DC39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B5AF1CE-B61F-4E7B-B5F8-F4FE9235D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67E0450-8B0B-4851-B413-798A0005E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3384297-F9E5-485C-95A1-3869DDF4A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4</c:v>
                </c:pt>
                <c:pt idx="1">
                  <c:v>0.3987</c:v>
                </c:pt>
                <c:pt idx="2">
                  <c:v>0.4065</c:v>
                </c:pt>
                <c:pt idx="3">
                  <c:v>0.4301</c:v>
                </c:pt>
              </c:numCache>
            </c:numRef>
          </c:xVal>
          <c:yVal>
            <c:numRef>
              <c:f>Sheet1!$B$2:$B$5</c:f>
              <c:numCache>
                <c:formatCode>General</c:formatCode>
                <c:ptCount val="4"/>
                <c:pt idx="0">
                  <c:v>0.4198</c:v>
                </c:pt>
                <c:pt idx="1">
                  <c:v>0.6837</c:v>
                </c:pt>
                <c:pt idx="2">
                  <c:v>0.7091</c:v>
                </c:pt>
                <c:pt idx="3">
                  <c:v>0.7317</c:v>
                </c:pt>
              </c:numCache>
            </c:numRef>
          </c:yVal>
          <c:bubbleSize>
            <c:numRef>
              <c:f>Sheet1!$C$2:$C$5</c:f>
              <c:numCache>
                <c:formatCode>General</c:formatCode>
                <c:ptCount val="4"/>
                <c:pt idx="0">
                  <c:v>26568.493506493505</c:v>
                </c:pt>
                <c:pt idx="1">
                  <c:v>8564.56338028169</c:v>
                </c:pt>
                <c:pt idx="2">
                  <c:v>32905.13333333333</c:v>
                </c:pt>
                <c:pt idx="3">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7DDF344-DCFC-4B93-8589-FD32B852A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CFC36DC-7AB8-4E01-93A7-A4FDBEFF7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98DA2C-4DFC-4CB1-8F3B-E738B7400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6345EF0-36B5-46B4-8418-478999F5C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79FFB33-C332-490E-A2DE-A3AC8919E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40FFB16-C755-45B8-9887-BEF182E12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1F52E12-DC34-41EC-B912-7FF8BA24A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52F7B53-24F6-43ED-855B-FBCEA3C98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9298A34-0ACD-4BB9-BDFF-FA0877F7A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CE76F81-F5D5-4CC1-BF36-9E5721BA5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C2A6006-E34B-49BA-91AC-D696A461B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785C77-13DF-42C2-900A-4592E65EC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3B3E892-CD52-4F59-A1F7-26F88C757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FAFF33F-E952-407D-8D76-2578B979A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87AC662-50AF-47DD-9488-3D760ECCC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6DC8D01-0A4F-49C3-A959-ADCE418BC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B874913-5BCD-461C-B8BC-30E691A40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7283825-5D85-4377-80B1-10E209717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FA3C36D-9163-49C6-91E0-77B549C7C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194E3E7-583F-4DD0-98E3-E6B8CFE2F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65E8543-6E6F-4726-A29F-60111454D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A04C0ED-FF84-487C-B122-1ECE30C4F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4859948-DF66-44FB-8EE8-E611B3154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287EBEA-CA7D-473B-9FB5-06ACAD76D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DE967CA-1BAF-4179-9776-BE204D444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3305B27-DE51-4C9E-BFF2-D0D4DA164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71455AA-5B57-442A-BB74-BE11A368D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15B6ADA-6784-497E-AE14-D34B8DE53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93F5CAF-3866-4C96-85FA-160698D1D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6BC5ED7-B75A-4FBA-8E76-FF4368B8D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45E87B4-4D42-4D3B-BEDB-9289B8FBE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0606A7B-02B6-4256-9CA1-FDEE5D763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4CEB0AD-5293-4B09-8CDA-AAB3261B2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31D1FBB-F4AC-411B-93BF-3650B68AB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71B1F0A-02B3-4A6D-ACE6-EF447A4AD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A4F77EA-E6DA-4B3E-A266-9DE444890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367226B-DF72-4438-8CF5-48B6715C0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C251931-342C-4205-80A3-3ECE3DE51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D5CE34C-52CD-4979-A9E4-F1E4CA704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A36583F-43BD-45C2-9A68-E65230516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FFE935C-9A61-4CC0-81ED-4658379F2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4D2C3C3-AA1D-4ECF-A6C5-543DC7D02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AC21285-17FB-47E2-8559-91BAB1F58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BAEE5C1-9884-4C18-9EF7-7B87BC99C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75A02C9-B52B-4B09-B889-A0132EA06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4EC0C28-06EA-4D41-BEAD-7AFCA2C64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B850934-12FC-4DE6-941A-83DB29DF6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D156138-4B6D-4BD7-A757-EF292A190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F9069E5-75CF-4D2E-B4DD-DBEB96CDF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3A76F44-B6C0-4659-A2B0-BDF71212D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DDB87EE-0335-4094-9579-2BB0BBA3A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15C57D3-50D6-4F53-906D-419B5C609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6FEE634-C7B3-48E7-82DD-9CDA50004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BAFFE2E-B827-43B2-A70F-7664F924F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F1C43BA-02A0-4809-BC01-623039EFC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BCE45C5-1C4D-4DD2-A761-A96B12B0A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02C78CC-39E3-4240-8C7D-B2CE2A5B7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2485</c:v>
                </c:pt>
                <c:pt idx="1">
                  <c:v>-0.9105</c:v>
                </c:pt>
                <c:pt idx="2">
                  <c:v>0.3205</c:v>
                </c:pt>
                <c:pt idx="3">
                  <c:v>0.3919</c:v>
                </c:pt>
              </c:numCache>
            </c:numRef>
          </c:xVal>
          <c:yVal>
            <c:numRef>
              <c:f>Sheet1!$B$2:$B$5</c:f>
              <c:numCache>
                <c:formatCode>General</c:formatCode>
                <c:ptCount val="4"/>
                <c:pt idx="0">
                  <c:v>0.6969</c:v>
                </c:pt>
                <c:pt idx="1">
                  <c:v>0.7947</c:v>
                </c:pt>
                <c:pt idx="2">
                  <c:v>0.6902</c:v>
                </c:pt>
                <c:pt idx="3">
                  <c:v>0.5307</c:v>
                </c:pt>
              </c:numCache>
            </c:numRef>
          </c:yVal>
          <c:bubbleSize>
            <c:numRef>
              <c:f>Sheet1!$C$2:$C$5</c:f>
              <c:numCache>
                <c:formatCode>General</c:formatCode>
                <c:ptCount val="4"/>
                <c:pt idx="0">
                  <c:v>914.0</c:v>
                </c:pt>
                <c:pt idx="1">
                  <c:v>839.0</c:v>
                </c:pt>
                <c:pt idx="2">
                  <c:v>7307.553571428571</c:v>
                </c:pt>
                <c:pt idx="3">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6A09554-B63B-4E89-8AE4-DA3C9FB5D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0E4DF4E-C77A-40D9-8398-7B0961F04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128B49-C8A2-4849-88A7-38CAAAC64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30D641F-8CFF-4EC0-8926-23FB45830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4456B67-49E1-4835-9EE2-BAB51AB84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6B1ABFE-E83F-4F35-8213-23C94125F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A8A61DA-1268-4A34-A4BD-27D19535C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920C1FE-FA09-4F16-9116-1B4A5906E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320CC73-C442-4281-8678-A75906C4E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BA4F715-6E99-492E-B2FB-5992B0944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99E4B71-6E5E-403F-B2E7-69F7F456E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CC4DEC9-49AB-4C2A-B1DC-C43BE4660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3654EA8-F7E7-441A-AF78-145E82995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1356E23-90B1-46E4-B852-CE9210B8F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7FBABB0-35BD-4E82-9516-06CA0F261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A0E3A28-2C10-45E5-9DD7-00893D30A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00EF588-279B-46A6-A8FE-23D6CD333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6F144C8-9781-4BD3-9AEF-6758029C0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98A768A-9CF5-4B23-9150-26D695251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08312EC-D613-4FED-9746-558BB4D42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8AA57C8-DF6F-428F-9980-FF5D977FC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A8B1B18-426F-4177-91C8-FFFFDCA9B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6E03A81-8E9F-43B6-A07C-01D63F59D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F2CCDD2-A226-41F0-9578-3148A476A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90B9B03-6C2E-461E-B184-FDFCA6747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F8CF5BC-98E3-4978-A897-A5708F092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11DE071-9C55-462E-BDA5-8A2A8C0C0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696206D-046C-4F0C-9244-E4DEBC328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4FA340D-914D-4885-89CC-E5186EE91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881462D-80E9-4854-9F79-972D3A35D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FADF1D1-9D7C-4677-AEE0-72A422BC7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5F841EF-2454-4D1E-80DB-966D7260C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128A069-3EAF-4B09-A521-65606B892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E3D597A-3CE1-4C47-A706-E28BFB3DD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F945A18-02AF-492C-A7ED-41D1166F6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72084CC-3947-48DE-93A1-954E68575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3850DD6-518F-4DA5-BAD4-A1BB575CD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36E6E58-13E6-43BE-86D3-3B7D98E6B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3B30AD5-A298-4A6E-BA9E-707119123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0DE325C-AC6A-4916-A80C-B9FB37D32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2EF9FDA-88BE-4708-87F7-7106BB521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07ABD58-D9EE-4BC5-A914-4B76D2F57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997BB8D-6513-42F7-993E-F2C356F80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D7D113D-D0D0-4CD4-9AF6-7DD0A1A05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5CD597E-5269-4B2E-BB2B-6082A4D21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9851E9A-E6AB-4431-9DA3-C078AAEC3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2570FE7-1903-483C-81E6-F14FBD359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E04307F-8E2A-4E83-8377-AC6005714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520DBD6-3462-4FFE-B2A6-A2BA12D96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01F5D1A-4819-4797-B97C-D811E4B6F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5D44AAB-F07B-40B6-97AF-700537AF5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753EA41-18AB-4AD2-8842-0AC1EEB8E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A05B6FF-283C-4D68-9D41-A9B2996AA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D20241C-C0D4-42D9-906C-282385CEE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8717A0D-481D-4F92-ADFF-68BB28ADE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59523EA-624E-4774-9452-BA6951A9B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06752E0-4FBA-42A8-BFC1-ACF84F043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8</c:v>
                </c:pt>
                <c:pt idx="1">
                  <c:v>0.3989</c:v>
                </c:pt>
                <c:pt idx="2">
                  <c:v>0.3583</c:v>
                </c:pt>
                <c:pt idx="3">
                  <c:v>0.4303</c:v>
                </c:pt>
              </c:numCache>
            </c:numRef>
          </c:xVal>
          <c:yVal>
            <c:numRef>
              <c:f>Sheet1!$B$2:$B$5</c:f>
              <c:numCache>
                <c:formatCode>General</c:formatCode>
                <c:ptCount val="4"/>
                <c:pt idx="0">
                  <c:v>0.4199</c:v>
                </c:pt>
                <c:pt idx="1">
                  <c:v>0.6837</c:v>
                </c:pt>
                <c:pt idx="2">
                  <c:v>0.7091</c:v>
                </c:pt>
                <c:pt idx="3">
                  <c:v>0.7318</c:v>
                </c:pt>
              </c:numCache>
            </c:numRef>
          </c:yVal>
          <c:bubbleSize>
            <c:numRef>
              <c:f>Sheet1!$C$2:$C$5</c:f>
              <c:numCache>
                <c:formatCode>General</c:formatCode>
                <c:ptCount val="4"/>
                <c:pt idx="0">
                  <c:v>3302.698113207547</c:v>
                </c:pt>
                <c:pt idx="1">
                  <c:v>1148.3170731707316</c:v>
                </c:pt>
                <c:pt idx="2">
                  <c:v>3361.8</c:v>
                </c:pt>
                <c:pt idx="3">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6428928-DAD7-4132-9BB1-F4507EB81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2DE900D-1EA9-4D56-AF3C-4F704490B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FFB181-00E8-4964-A748-D502369C9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1B7949-60CB-4727-94A0-387D6DC61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62B02C6-B6C3-4BBE-BF15-4B83B117B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EB0F5D6-5C4B-4406-8D9E-8101A00C8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64666B2-681E-4967-B5E5-F3886E2D0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489292-6994-40D7-B9D9-6FE51900E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754A058-9BAB-4DF9-8330-B555E9817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3D16E43-B215-4B60-A4E0-A69AE98A9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A606A9F-4C7F-4701-B32D-E69569A8B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458C6E-8EC4-49E7-9840-9FC959CA8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EBE62C5-F11B-4723-A584-B50A010DA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EC8500E-6985-4FE9-98EC-E77E19834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D365792-81E0-4340-A97E-12933362B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BBE327F-AEFE-4643-85CE-7FBEC61F1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ADD619A-F155-47F2-8762-801E8783E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0226D84-3921-48C5-A4E3-B0B464F33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A0BF8B1-ED6A-47A6-B9DF-4709667A4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0E1767F-4731-4983-83B1-C63DAB1C6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0992D78-19F0-4B4A-8730-816DEE09F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16311BD-05AA-4530-81CF-EE315CF23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1A5B824-1B76-42D6-92CF-0FEC0C648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524B309-85F5-46E5-A79E-323874820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B3FADB3-9EAF-4DC0-BDED-F9CF25C25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DAC9B13-6807-493C-B5EC-E2C254E0B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45DFB04-92A8-45A0-9A9C-735B8054E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BF2B9DF-4CA0-4A4E-A7F8-9F7EFD2F7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5CD37E0-4906-4A8F-9BCF-2CF0073C0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20E4DCF-3EBD-4B4C-93D6-9BD17CD5D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C7560A2-2A6B-40A2-AADC-61822CBA0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079422D-7C42-4419-A630-A25FD1945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256E161-7E66-45B5-B0F6-3898C2DD2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91EB0E2-134C-4ED2-9E83-C9F6EC1C7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B291ABC-8A77-4687-983C-9206ADE53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49AF4FE-1CF3-4B71-8EF1-67697BD9B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EAEAA77-6881-43D6-85D9-7E6BA2A6A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6AF47EA-2D43-45AE-8C62-AD6467FBB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D057485-E801-4CF4-895A-C18C9FD31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04D08EC-2048-4C69-95E3-B6FC5BF64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D53D2DF-F301-4352-B9C7-63DCA88D8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E4106E2-8BA4-4E56-98C6-B80108574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2914009-E764-4E17-8559-88B812991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FBE8994-8C34-44BC-89FD-562041BC8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5FA5A0B-F64E-4EE8-BCD2-F8D697809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6FE57CA-F293-44F7-83B5-E2EC0DAEF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3B8D787-DE1B-4442-BE2C-13489F73C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0E78C6A-EAA4-4BA9-B1E0-616322A84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0AB7C3E-233F-473D-9884-0562E4669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44F80A2-5AC3-459B-A919-E32457D19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CDBD499-61F0-4CC4-8D12-7642D5969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5B7F88D-83F9-438D-A5BB-D17FE9F56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381EF65-68C7-4ADF-95DE-A3D29EF2A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DC16ABF-6610-4B2B-9359-71FEE8953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A7C6A4E-BA6A-4D9B-B1F9-4EEAE9EE5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0EB3F6A-8CC5-4B6A-8E7B-1B4AAAAF8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AB53AB1-6ABA-4FE2-952F-B09CD552A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2917</c:v>
                </c:pt>
                <c:pt idx="1">
                  <c:v>0.2194</c:v>
                </c:pt>
                <c:pt idx="2">
                  <c:v>0.3585</c:v>
                </c:pt>
                <c:pt idx="3">
                  <c:v>0.2027</c:v>
                </c:pt>
                <c:pt idx="4">
                  <c:v>0.3207</c:v>
                </c:pt>
                <c:pt idx="5">
                  <c:v>0.3918</c:v>
                </c:pt>
              </c:numCache>
            </c:numRef>
          </c:xVal>
          <c:yVal>
            <c:numRef>
              <c:f>Sheet1!$B$2:$B$7</c:f>
              <c:numCache>
                <c:formatCode>General</c:formatCode>
                <c:ptCount val="6"/>
                <c:pt idx="0">
                  <c:v>0.2544</c:v>
                </c:pt>
                <c:pt idx="1">
                  <c:v>0.695</c:v>
                </c:pt>
                <c:pt idx="2">
                  <c:v>0.6039</c:v>
                </c:pt>
                <c:pt idx="3">
                  <c:v>0.7269</c:v>
                </c:pt>
                <c:pt idx="4">
                  <c:v>0.6906</c:v>
                </c:pt>
                <c:pt idx="5">
                  <c:v>0.5305</c:v>
                </c:pt>
              </c:numCache>
            </c:numRef>
          </c:yVal>
          <c:bubbleSize>
            <c:numRef>
              <c:f>Sheet1!$C$2:$C$7</c:f>
              <c:numCache>
                <c:formatCode>General</c:formatCode>
                <c:ptCount val="6"/>
                <c:pt idx="0">
                  <c:v>1094.75</c:v>
                </c:pt>
                <c:pt idx="1">
                  <c:v>5275.419354838709</c:v>
                </c:pt>
                <c:pt idx="2">
                  <c:v>999.2</c:v>
                </c:pt>
                <c:pt idx="3">
                  <c:v>1055.75</c:v>
                </c:pt>
                <c:pt idx="4">
                  <c:v>4560.025316455696</c:v>
                </c:pt>
                <c:pt idx="5">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C741437-CEE1-402B-A1AD-0BA236B82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9344AD9-7305-432D-ACCE-988DC4E1B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3320EB3-5836-4680-B4FA-253E0FBAA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201F62C-D5FA-412E-97AA-248A21092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7A7DAF7-F40B-49A6-A207-A708C65CA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DFB75FB-1CB4-408C-84D9-9BB8847BE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33BC7F9-35E1-492B-BEFC-0A1E5E3BF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04F8134-F220-4661-920E-F1999785A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44</c:v>
                </c:pt>
                <c:pt idx="1">
                  <c:v>1.777</c:v>
                </c:pt>
              </c:numCache>
            </c:numRef>
          </c:xVal>
          <c:yVal>
            <c:numRef>
              <c:f>Sheet1!$B$2:$B$3</c:f>
              <c:numCache>
                <c:formatCode>General</c:formatCode>
                <c:ptCount val="2"/>
                <c:pt idx="0">
                  <c:v>0.6584</c:v>
                </c:pt>
                <c:pt idx="1">
                  <c:v>0.6291</c:v>
                </c:pt>
              </c:numCache>
            </c:numRef>
          </c:yVal>
          <c:bubbleSize>
            <c:numRef>
              <c:f>Sheet1!$C$2:$C$3</c:f>
              <c:numCache>
                <c:formatCode>General</c:formatCode>
                <c:ptCount val="2"/>
                <c:pt idx="0">
                  <c:v>786080.1156</c:v>
                </c:pt>
                <c:pt idx="1">
                  <c:v>456825.0256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323999999999996"/>
          <c:min val="0.51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630897187367"/>
        <c:crossBetween val="midCat"/>
      </c:valAx>
      <c:valAx>
        <c:axId val="1011451359"/>
        <c:scaling>
          <c:orientation val="minMax"/>
          <c:max val="1.1500799999999998"/>
          <c:min val="0.2632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042981183321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FE4BB76-829B-4E54-B1F9-33980332B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4CB345C-00D9-4133-80DC-6BE97E114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82472A2-6AD4-45B4-8072-435E272ED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838D84D-938C-4158-A7D0-A7FD99D2E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21C142E-4C6C-452B-A06A-314945B1E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0AE0FFE-6CEB-4492-8ADD-FC42574B8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644EC5F-3E12-423F-B537-32C594713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AC0C497-3FEB-4AD8-9B84-40256B1FA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490F0BE-4D81-4AF1-A6D7-31A457B1C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E6AFA4F-4189-415A-8864-04AF41C47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417CB54-63E3-4EAD-A70B-F214C99EA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B42ED99-2775-49B2-A635-A2BB04FCC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9E437AB-C1D0-4994-8941-DC4A32DEC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91165D8-2270-4413-A1F0-DA18E2470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0185A05-12DE-4542-A1DA-B3013225B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A6ECE31-C6C5-4F9C-8A06-2A76CC942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D98D523-EC0A-4C26-902C-3F917EDBC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449E968-FE68-4974-9CEB-0BE03C2DE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7E32E82-EFBE-4A62-881C-37370A0EB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73E7F65-B3AE-492D-8F4C-D4D5EED90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8FC5CE1-1780-46DC-AED8-44D9E56BC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1AE9421-4237-4D60-9C18-3E5EA79A0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DBE5E88-9499-458D-B363-7BDC59906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42EBECC-E027-4ED4-8038-D1FE93E41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F9CEFD6-4D2E-49BF-A247-0406F7B11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90713CD-2080-46D8-9023-A07697776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558907C-1D0B-4F09-9C71-1D50D7790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9A8997E-AAA0-4E3B-B47D-D9B97B5E3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777F422-0511-4A22-943F-218383A10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A5B5BB8-B33D-469C-8E9E-744E888E6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4816E0E-D9AF-4B90-8578-0D7BFBC53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8466AC8-CC19-45E5-9DBA-2091BCB33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892B1B7-7D78-41A8-90CD-55239205E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7EB81DC-02A7-4A8F-88E3-7E79F94E1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BBDB848-368D-40A3-B784-C48E6F397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D1E17A2-3CD6-4BCF-8421-0E281E6FF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C068426-EFB0-4F4C-8B97-6670E86D5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C58E156-20F1-444D-AB8A-6F7B405C2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027A6E8-18B9-4116-AB9C-C52B0CDAF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71DFE1D-C2EF-4017-B6B5-3703CC0D0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D34E122-7462-4EE5-9A68-00268ED0C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1A8A956-FFC7-4EC6-87AC-E5066FEA3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C198D87-CA76-4B65-8E67-F33A2BF52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1FF2203-73F7-4861-8038-38358D2DC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AE4ACC1-E2D9-404A-8011-D4B2D9BBD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9CD6E5A-F1B9-40DF-A176-3FF4D03FA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3F13A68-5DE5-4CE3-A586-F5CB14FB1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79AE0F5-11DD-42C3-AF1D-542322B38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8DCA197-7AB0-4D33-A01F-C10506D3E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4275191-5C2A-460B-B456-6C5E0922C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398A5AE-AFE4-4896-BA6C-DA6B2B22C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D651E49-A28C-4E29-AB17-A8C30CD12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150060F-78C8-4932-9519-C14F3D0D8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07676B7-E4CC-4464-9034-E01705B94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BB7D882-47E6-4BF0-9337-19AF0EA6F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BC0C2FD-2442-4026-A647-83B60675C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B0810B9-E871-4CFE-A1DB-3910053BE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1</c:v>
                </c:pt>
              </c:numCache>
            </c:numRef>
          </c:xVal>
          <c:yVal>
            <c:numRef>
              <c:f>Sheet1!$B$2:$B$2</c:f>
              <c:numCache>
                <c:formatCode>General</c:formatCode>
                <c:ptCount val="1"/>
                <c:pt idx="0">
                  <c:v>0.372</c:v>
                </c:pt>
              </c:numCache>
            </c:numRef>
          </c:yVal>
          <c:bubbleSize>
            <c:numRef>
              <c:f>Sheet1!$C$2:$C$2</c:f>
              <c:numCache>
                <c:formatCode>General</c:formatCode>
                <c:ptCount val="1"/>
                <c:pt idx="0">
                  <c:v>47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A3CD064-4D69-4B3F-993C-D5E9BFD94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4AC11BD-229A-4D2C-BBA7-CABEED6AD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0FB6A0-BF67-4C56-83BE-35F0A3CC8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0ADA55-E8D5-4AAF-B3B4-914071AFB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B38AB04-3DFB-4485-A484-9D7EBDCC0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17F2127-2891-43C0-B87A-B1EAE7463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2AFB451-922C-4130-B316-CB0BE148F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66D74D1-B278-4F0C-9CEA-9C09EA7E1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BA5A145-9B88-446C-9715-33BFBC98C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8341088-83E8-4EA6-968E-4800AA2C3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F783A8F-F7D1-4941-AA44-62A3BE719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C45CBFE-0A65-4456-A239-93B4A3D5F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4331719-926A-449A-A441-A0234095B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9F3F5B8-E285-4DCF-A789-D234A0D7B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37F689C-3510-4A1E-9C65-D3779A291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97C47AA-0DAC-4547-8812-3A68E8D9F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C9E4CE9-F9CF-49D0-B2F0-88F41A6AE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E0CDF24-18AA-446F-87D8-D01D89804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827B074-5110-4329-B960-165588477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DC5BB79-DD6E-4E43-AEB3-182953789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A33C273-C3B1-4676-8A2F-C34E23172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F93FD4A-86B2-4109-BD82-46AEFF7E9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7EE8F41-3949-42BC-84B9-2CE57D833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DFEAF4D-5386-4378-8E16-517791746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582FFF3-7F4F-4196-896A-B2FADD7D7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F212A63-92D1-4E2A-AD63-ED0E9572B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01ABFFC-6121-44A7-8828-27D0F34DE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338EDE8-E6B9-489C-B56A-529F472E7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6F0FF1D-6489-4022-B74A-9725097BB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045824F-A0C0-4C7E-BA94-D7E455A29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01F8876-BD0D-4C8C-B461-21D81A687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D4CF749-0E78-4FB3-A15A-2C30DDC98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3636D0B-AE60-4328-989C-4DE996AA9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BE2CD13-07AB-48D3-AF5C-163AC5F49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ABB25F3-8D50-4E32-88AB-3935E2F1B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D43F5C2-4382-44BF-A7BC-D8C950E62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901A112-92A8-40D6-8912-BAE01B532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33D7FA2-1E6C-4D40-9640-AB0C5E100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9E564DD-45E8-4419-9D1C-EC7DAF655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1C32050-52E4-4FA2-AE85-D08B69C0E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314C858-9FC1-4E02-8DF7-5AC8DEFA1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9266EDD-D56E-4F2C-8BEB-D5AEDEC3C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DF351E4-2F6A-4B77-B144-1C9284C8E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77D1673-815A-4661-9126-0DF23A5DE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6C4AE92-BBC0-48B1-B6BE-2863D3C90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E56457D-65F2-429A-B9EA-6B4258843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AD192BC-B6E5-46F1-9714-92006138C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3A70F5D-D473-4BF0-8E38-BE1BDD0E5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282DD3C-0B57-4065-B70A-2372CDC50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533259D-7A46-4EBA-A754-B59B78A5A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906C5BE-D76C-4320-906A-C5290690F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653A5FF-9DBC-40CF-ADDB-2DC0AA3F9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7FD98E9-9ED1-4243-8566-6C70DBDF1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484F85A-72E9-4D29-847A-8675C0CAB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48F28F7-6629-44F8-AA56-5E11CA5D9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BF09B19-0B11-496E-A7C7-AB3FADE10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E16EDA0-7726-4F6A-9338-27C0EB017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75</c:v>
                </c:pt>
                <c:pt idx="1">
                  <c:v>0.3974</c:v>
                </c:pt>
                <c:pt idx="2">
                  <c:v>0.396</c:v>
                </c:pt>
                <c:pt idx="3">
                  <c:v>0.4292</c:v>
                </c:pt>
              </c:numCache>
            </c:numRef>
          </c:xVal>
          <c:yVal>
            <c:numRef>
              <c:f>Sheet1!$B$2:$B$5</c:f>
              <c:numCache>
                <c:formatCode>General</c:formatCode>
                <c:ptCount val="4"/>
                <c:pt idx="0">
                  <c:v>0.4195</c:v>
                </c:pt>
                <c:pt idx="1">
                  <c:v>0.6837</c:v>
                </c:pt>
                <c:pt idx="2">
                  <c:v>0.7091</c:v>
                </c:pt>
                <c:pt idx="3">
                  <c:v>0.7317</c:v>
                </c:pt>
              </c:numCache>
            </c:numRef>
          </c:yVal>
          <c:bubbleSize>
            <c:numRef>
              <c:f>Sheet1!$C$2:$C$5</c:f>
              <c:numCache>
                <c:formatCode>General</c:formatCode>
                <c:ptCount val="4"/>
                <c:pt idx="0">
                  <c:v>2192.542857142857</c:v>
                </c:pt>
                <c:pt idx="1">
                  <c:v>745.0597014925373</c:v>
                </c:pt>
                <c:pt idx="2">
                  <c:v>2624.685185185185</c:v>
                </c:pt>
                <c:pt idx="3">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BFB1F37-2116-4D48-9D60-C32DB71DB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613F13C-EF69-4D6A-81C4-CC5686B4C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A9D5B9-FFE2-44FB-AFF2-1536BFCBC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0E84B3-A1E5-4F19-94F4-71CE54D83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27CA2CA-7BB0-4F24-A06C-5780DF3E5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4F094B4-B7F1-4456-B0A4-A4EE48374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CE95076-6735-4D14-A054-63C0AC45D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635E8C0-B2E5-4946-821A-4C12A7FD5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C932A6F-BA60-4B09-9DF7-F6556C680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E549FFC-8757-44FD-9701-5D1728230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794CF80-FC11-4770-B0A2-6206A6F4B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BAB980-359F-4BE2-9CDC-5BF49B1AD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7EAE2D6-A0E7-4BCE-BCF7-3D2DE250C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8D8D9FC-4A41-404A-8955-26E296D01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60A6371-390C-42B3-9B69-C6F45FCC7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93EF4ED-2A6F-4FEC-8CA1-D77074839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297E780-FCDD-4F12-A927-F9F83FCF0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8037154-CACB-4E51-87F2-A184B1C2D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2EB2CDD-0539-4E6D-B164-B4E273788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2A51D46-0D15-4B25-921D-718281CD3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5898FFC-3FAF-4B01-8A4F-B0539049B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1C1CE31-C118-4934-9CDC-B52B6342D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A51DE8A-FC94-4477-B1DE-4FB04AEC9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DDE06AA-5FF7-4279-95B3-9A0AB6153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AAC0BF3-5CC0-42A0-996E-E23C74939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A219D4F-041B-4339-ABCA-F7BF11012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8CFC8D5-489C-43BA-8B01-E1E1124F9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0E79A03-9C98-4599-8E11-AC488E411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933ACD5-0C0E-4843-9840-2A58564C4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39DA6F6-2CCC-4BB3-9724-C3F07C154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62640F1-1F3F-4FFA-B92B-F9743C855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E980922-5FD6-49D3-9CED-3E6BB82D1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48507D0-8E44-4564-A3B5-0F5B23535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116C14B-15E4-4286-B8D9-6DE3E4189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B56B965-966A-414D-9D9F-9F80F4D88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39B3304-63E1-472F-A00E-52C482272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7694D1B-15F7-4A7F-B78B-8C2775B17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A0B5655-1357-40CE-828C-8B39877A9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CEEAF57-ED1F-4E54-8C7E-FA4F9B767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43A2338-7552-4870-9187-4CB749EC8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09B821E-DDE0-4B66-9F40-E4AA4C275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CAACCC5-EF98-45F1-9993-DFA0A265D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4306A96-7B3D-4D38-A634-62F4B51B5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C8ECC59-E93C-4C73-93F8-D5BDDE904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90F5A2B-82BE-4D4D-877B-6AF610004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C16C357-40E6-4D02-981E-B49711752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AB417CD-DE5F-47EC-BF4C-738982EAD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D0DB1A7-A33F-4635-ACB3-BDC5D2CDF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2BBD197-8EB7-46F4-9690-C015175D6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68EFC61-4245-4137-BA3C-D0F7B6D2C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415046A-EB82-4FBD-9EE5-38033B524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61A72C2-019D-46CD-88FF-9E8DA909D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4B11E59-86C4-4FEC-9B1C-927318E0E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C2809F6-AF08-411F-B336-95F4246DA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B00CA77-3FF3-459B-BC3C-570261C5D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F566E34-370B-4B3B-AB88-FDD6B526E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C97977C-E72E-479A-860A-A83BC304D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6831</c:v>
                </c:pt>
                <c:pt idx="1">
                  <c:v>0.223</c:v>
                </c:pt>
                <c:pt idx="2">
                  <c:v>-1.6975</c:v>
                </c:pt>
                <c:pt idx="3">
                  <c:v>0.2203</c:v>
                </c:pt>
                <c:pt idx="4">
                  <c:v>0.3675</c:v>
                </c:pt>
                <c:pt idx="5">
                  <c:v>0.2809</c:v>
                </c:pt>
                <c:pt idx="6">
                  <c:v>-0.6721</c:v>
                </c:pt>
                <c:pt idx="7">
                  <c:v>0.321</c:v>
                </c:pt>
                <c:pt idx="8">
                  <c:v>0.3918</c:v>
                </c:pt>
              </c:numCache>
            </c:numRef>
          </c:xVal>
          <c:yVal>
            <c:numRef>
              <c:f>Sheet1!$B$2:$B$10</c:f>
              <c:numCache>
                <c:formatCode>General</c:formatCode>
                <c:ptCount val="9"/>
                <c:pt idx="0">
                  <c:v>0.6078</c:v>
                </c:pt>
                <c:pt idx="1">
                  <c:v>0.2544</c:v>
                </c:pt>
                <c:pt idx="2">
                  <c:v>0.797</c:v>
                </c:pt>
                <c:pt idx="3">
                  <c:v>0.6948</c:v>
                </c:pt>
                <c:pt idx="4">
                  <c:v>0.6037</c:v>
                </c:pt>
                <c:pt idx="5">
                  <c:v>0.7271</c:v>
                </c:pt>
                <c:pt idx="6">
                  <c:v>0.7947</c:v>
                </c:pt>
                <c:pt idx="7">
                  <c:v>0.6903</c:v>
                </c:pt>
                <c:pt idx="8">
                  <c:v>0.5305</c:v>
                </c:pt>
              </c:numCache>
            </c:numRef>
          </c:yVal>
          <c:bubbleSize>
            <c:numRef>
              <c:f>Sheet1!$C$2:$C$10</c:f>
              <c:numCache>
                <c:formatCode>General</c:formatCode>
                <c:ptCount val="9"/>
                <c:pt idx="0">
                  <c:v>1754.0</c:v>
                </c:pt>
                <c:pt idx="1">
                  <c:v>17159.559193954658</c:v>
                </c:pt>
                <c:pt idx="2">
                  <c:v>897.7777777777778</c:v>
                </c:pt>
                <c:pt idx="3">
                  <c:v>75823.49665924277</c:v>
                </c:pt>
                <c:pt idx="4">
                  <c:v>21416.964285714283</c:v>
                </c:pt>
                <c:pt idx="5">
                  <c:v>21518.936170212764</c:v>
                </c:pt>
                <c:pt idx="6">
                  <c:v>5644.0</c:v>
                </c:pt>
                <c:pt idx="7">
                  <c:v>68443.00636942674</c:v>
                </c:pt>
                <c:pt idx="8">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49AB93C-F37C-4D9D-A0E0-D91497E90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A3454A7-D9E9-4DE6-935A-77A7F991E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1A681E-B73D-48BF-9DE8-4AB17696B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DE44AB-B113-47FE-9524-9FAD3DE71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B90F6B1-C530-42B7-B0E2-C3278EA72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B7E0808-817F-4024-A5E9-B52F90F7F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FC6D2B5-6C6E-4582-AED2-A8DB9E3EF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FC8B51F-A405-4857-9422-DB6FA617C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D3C3BCF-C4B5-409E-B0F2-25E2B5E48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3FFED8F-45B3-4CA6-AE3B-EDDF36AA3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867889F-A4F0-4935-9C70-72363EAAC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3D507BF-4D13-4B65-9D69-3D2BF6B31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25054B2-ACB6-4BAA-85E4-3D2BF5A2B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F964BDE-7D5D-4CB2-A02F-FDC0ACB01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600B184-1638-4E61-8BF2-CEE489364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5F65D5C-D9C2-4C69-94F6-54D14F34D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B9E4277-034E-4E13-8FF8-89426A2C9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D5BA6C8-388A-4EE8-9AEC-5EEE289EA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4CEB7A7-9AF1-4A7C-9A7B-F28FF9527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8B3BC4D-C150-44E6-8406-902668499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79ECED4-8959-4FD6-8A93-0A25CC166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8E85860-2DFC-4F0E-B61C-13AFE361E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864F817-304D-4CCA-838D-56806B4F6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A6C8AF7-6291-4E36-82E4-3129D4D8B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AEBBCE9-2A44-4174-82B1-F8E01C789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E97C546-8A67-447C-8587-C8DD5C36D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73E3AEC-7358-42D3-A407-E33E93E3A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EA4927A-D9F9-487B-A374-D218A4AA3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04F4CF0-B41D-48DD-A890-851463059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26BEFF5-20F8-4CF2-AFDD-0F6A98ECE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F70C90C-1426-4E53-9852-174874E00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DE0BB5C-8F74-4CEC-80CD-5F42D8F3C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77E26B6-0F4A-4A12-8ECC-389C3735F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4274B0B-D825-42D7-9B88-3FC071294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8832735-A5DB-48BC-BD18-95AB30AB7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FA149E7-FF49-4831-976E-98092DC34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35552B6-656F-494D-A074-9A36323A1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A942E60-E388-4548-8CEE-FE14F9EEF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16A05B1-A644-4105-99CE-DE729FA24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E7721A0-B2DC-484B-9AD0-7C45D7752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4368E3A-85CE-47FD-BE80-A0C7B8AD5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8B6FA9F-8E72-44CE-9DEC-7F27F561F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4247557-72C0-4453-8292-BDFF2A157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1AA3F4F-8B72-4A87-8C4C-9A9B6C955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EA91B91-A0DE-462D-9465-FB7002F00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FEA1C64-F372-4531-B7C8-1CDA1F2B4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951725C-9421-4016-9A25-CFA7AF2CD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AECA912-90B8-4D3A-B368-F074343B7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4CB7367-9AF7-4225-9395-106EB878A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6CBE03C-8D6A-4D91-BA4B-9DEA2AEE3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85746E5-0B5A-4331-8818-AC156A9D0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230F678-8CC7-4A19-8E4E-E6E72CE65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C20BECF-73CA-4233-A795-DEA34B4AA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BA66BED-A22A-48B3-9A72-0FA41CB61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AFBA2C4-7C09-4E40-BA84-2B4E3C96F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3C5C575-C83D-4AE1-BE36-1B6720239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1586304-3CAE-406E-9800-FF8BD77AB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c:v>
                </c:pt>
                <c:pt idx="1">
                  <c:v>0.3456</c:v>
                </c:pt>
              </c:numCache>
            </c:numRef>
          </c:xVal>
          <c:yVal>
            <c:numRef>
              <c:f>Sheet1!$B$2:$B$3</c:f>
              <c:numCache>
                <c:formatCode>General</c:formatCode>
                <c:ptCount val="2"/>
                <c:pt idx="0">
                  <c:v>0.3715</c:v>
                </c:pt>
                <c:pt idx="1">
                  <c:v>0.7136</c:v>
                </c:pt>
              </c:numCache>
            </c:numRef>
          </c:yVal>
          <c:bubbleSize>
            <c:numRef>
              <c:f>Sheet1!$C$2:$C$3</c:f>
              <c:numCache>
                <c:formatCode>General</c:formatCode>
                <c:ptCount val="2"/>
                <c:pt idx="0">
                  <c:v>7625.128205128204</c:v>
                </c:pt>
                <c:pt idx="1">
                  <c:v>6750.31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45319A2-B212-4E4C-A51B-906B321C5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7D3179B-F568-459B-8D83-84FCAB9BF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9C5A769-AFDE-48D5-85C5-B6643DF07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CAA8762-1566-4BFC-9E1C-CA07D0E50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0AF1DD1-A963-4843-A01D-3756146D6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AB503A3-E3A8-4CA0-BEDC-AF32BFBCB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7D9915A-D474-49FD-BFFC-ED891B366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9E4F603-1BA3-4D34-852C-F5F2288EF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A383DDA-8CCB-47B9-A452-706F3193D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2C4027C-EB9B-4F67-B753-03392F7FB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A656D40-F55F-4CE4-B8D1-BDDCDC004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AA035B5-03B0-48D2-AC17-4C4472884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E94F008-C721-4F46-BD93-7D31AF34C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5487D94-B556-4A9E-A0EA-253FE44EC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6846DCD-B9A6-4720-B61F-5F0F4938F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34F4C0B-8E61-4AD8-8D6A-8BD1B8AA9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C2AF603-C484-4C70-A4DC-07DF7313D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C52585E-0393-495E-A4F7-8E3C98D09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617903E-2CCB-4FB0-A693-C6EAB81BC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C402F68-539B-4E05-A484-E78FA38BC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D97F70A-7E74-4A7C-8B5E-6BC23D3F2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D6954F1-5EC5-4797-8C61-41502A076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E1F4BCB-22CA-4479-AEC1-391544379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435CE32-3FB2-425E-A223-0A7307DDE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92A78BE-A1C5-4DFE-AC57-3D850C7A3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3ED5350-5F76-4265-9BB5-3B97ECF55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98A0801-AB89-4508-97ED-B98991E28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67DEC34-369D-4766-A83A-D2CD93DDA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178BE92-FC06-46E8-AA9E-5EB3A23E3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B6D9760-F5A0-4039-B7D5-02401FB86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241C18F-CF83-4101-976D-2A7AA1225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E5B46C0-1AB2-4013-9A96-B1AAFE55C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D5934FF-47E0-4FFE-B832-A09020F35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57EAA5D-A404-4F76-8239-4AB588B25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BD25C0B-06C4-4D77-A920-16F5DEFBF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87850D4-B5DC-4667-BF37-2CCF9A242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1D9821A-A64C-4D02-A647-71FC2A2CB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BF20ADB-43EC-4D2E-A02B-C0EE254D3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802F010-0E3B-403E-BF11-02663BC8E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0142790-2D07-4608-838A-5091C53DD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FEEEC26-B996-4F06-95B8-920786DC3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B5A3E12-5194-429A-9E06-98F61C516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5366EF1-227A-4916-9A32-51430B605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0D4F4FE-4CD3-47C3-BAF5-3E4419F31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D80BE3D-A5DE-452B-9FEF-A76B3413C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50E657A-D55D-4137-BF98-C3639DD17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8991FD8-898C-4E94-8AA7-8B91A4CF6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CD6755A-6654-441D-A9A7-EA435068C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B9D9BCC-1775-4E02-AFDC-4B5CEB80F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C7CCE27-BDED-4E22-9995-0B4E13DA1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85B7B40-E426-4D9F-8AA6-00EDFC96F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25AADC4-DFD0-4B7B-AD38-467D5283F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2BCEA5C-E6AD-41FC-ACBB-830181B70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6627560-B0BC-498E-86AB-665DF1CDA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AAD48A9-F41A-4FC8-B195-3A76907DC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04E7138-DD0E-4797-ADE6-1FDFF1E0B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0AE6750-73DD-4211-BF4F-8346AD33E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51</c:v>
                </c:pt>
                <c:pt idx="1">
                  <c:v>0.4884</c:v>
                </c:pt>
                <c:pt idx="2">
                  <c:v>0.3987</c:v>
                </c:pt>
                <c:pt idx="3">
                  <c:v>0.4029</c:v>
                </c:pt>
                <c:pt idx="4">
                  <c:v>0.43</c:v>
                </c:pt>
              </c:numCache>
            </c:numRef>
          </c:xVal>
          <c:yVal>
            <c:numRef>
              <c:f>Sheet1!$B$2:$B$6</c:f>
              <c:numCache>
                <c:formatCode>General</c:formatCode>
                <c:ptCount val="5"/>
                <c:pt idx="0">
                  <c:v>0.7386</c:v>
                </c:pt>
                <c:pt idx="1">
                  <c:v>0.4198</c:v>
                </c:pt>
                <c:pt idx="2">
                  <c:v>0.6837</c:v>
                </c:pt>
                <c:pt idx="3">
                  <c:v>0.7091</c:v>
                </c:pt>
                <c:pt idx="4">
                  <c:v>0.7317</c:v>
                </c:pt>
              </c:numCache>
            </c:numRef>
          </c:yVal>
          <c:bubbleSize>
            <c:numRef>
              <c:f>Sheet1!$C$2:$C$6</c:f>
              <c:numCache>
                <c:formatCode>General</c:formatCode>
                <c:ptCount val="5"/>
                <c:pt idx="0">
                  <c:v>779.0</c:v>
                </c:pt>
                <c:pt idx="1">
                  <c:v>31615.113182423436</c:v>
                </c:pt>
                <c:pt idx="2">
                  <c:v>10233.439767779391</c:v>
                </c:pt>
                <c:pt idx="3">
                  <c:v>38536.181506849316</c:v>
                </c:pt>
                <c:pt idx="4">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3FBC491-D7C1-4AB8-85E3-B25E64F97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4872504-2D2C-4A5F-A231-09EE24F1A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BDB4B49-7B9D-462B-89F9-C01D249CE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DD4F5E3-E303-40A2-82EF-2FFCA912D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B30371A-8E29-4650-A2FF-BFDD170C5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1A2E295-15FA-4141-A763-919B886DE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5BC2614-BC25-4F8E-96A4-F0E4EFAB0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B26991F-84FF-4D67-A9BF-71A209E7B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1B49990-F052-4B0D-88EC-13C0F046E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F1DF8AB-3FB0-40C9-8B8C-10293A681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4C2751C-392E-4EEE-B74D-C97FB5C87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7F9D1FE-38B2-44BD-B668-A48F1094D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8CE1E52-E154-448C-97A7-91D6FC29E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354BF7A-E01D-48D3-9891-EC750F27E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B9D32EC-1359-40DE-85D8-B761FDF6D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C162CFF-7C2B-4272-B5CE-BF239E9E1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B5F0246-2AB6-43E5-87DB-F123D79C8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DCF7726-7946-460C-B4FF-02BF11389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2AE7C81-2504-43E1-94DD-D92C4907F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631BDF3-A8F1-4011-8FF5-52E3A1759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72855FF-6213-462A-B3F2-96D9EC516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C532F3B-C49E-497F-9220-A93099593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9B76F8A-9203-401E-9EDC-06B11FB18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50B854A-9A6E-4E71-AB03-1E5F8FFB6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9CB1D3F-AAA6-4B1E-A1F2-350855745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BF75450-D612-4893-B638-B00E2B406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9211177-A1DB-4930-A608-4E05BD14A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1059111-07F4-4E07-B6EE-58B6B94C5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07733EC-4D00-4B16-A3D0-E48E19F6D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ADA4981-B7EF-49BB-98C0-72BF418F1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A6CADFF-00FC-498D-8C9B-8E481722D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7E8E830-6AE1-4C8F-B10E-30CC1C926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B4F612A-C838-4DE4-A734-262F5ECBB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8C31CB9-1F46-41D6-86A1-5679C7F4A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6341FC5-826A-4D8B-AE3D-1D6433340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FBB1447-0DFE-4BF3-95BF-7DC790382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5735158-98A6-445C-91F1-EF729FB98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981ACD1-200A-4619-A5CB-00A813C26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C741513-8159-45FF-9202-A89E914C3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6BD2F09-9D54-48C1-B358-7AFC8BDD8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8164D2F-B2DB-438F-9248-460EDD381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E995678-5609-49D7-B31E-A6C77F47C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67F1FA6-C497-4250-8472-576F44A02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8EFAC6A-5088-41F8-8AAB-066D13B0B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BA0B26F-D85D-40C0-88A6-69C4BFFFD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A02B23C-3BFE-4ED1-9AD2-C30E10BC3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27A3237-E80E-48CD-B509-20222ABBA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0B4E00B-7A9C-4168-977E-DDAA20A43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9439578-9910-4802-9EBD-F9794202D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DEB7C6A-2483-4207-9494-B59591DF6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4A79AAE-2F48-401D-BA8B-EAD19CAA1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4E0A029-28F0-499E-96F6-A407FEF9F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BB96F00-5A97-47FD-ACB5-E24D26658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5ABC94E-B52E-4E51-90CB-FCE5837CA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FE8B505-13B0-4F5E-8925-A3BE3728F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89D1BED-5994-4433-A98C-2FB674F69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EE9035E-6E1F-48E8-AD03-E60880929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6</c:v>
                </c:pt>
                <c:pt idx="1">
                  <c:v>0.361</c:v>
                </c:pt>
                <c:pt idx="2">
                  <c:v>0.3461</c:v>
                </c:pt>
                <c:pt idx="3">
                  <c:v>0.3702</c:v>
                </c:pt>
                <c:pt idx="4">
                  <c:v>0.3194</c:v>
                </c:pt>
                <c:pt idx="5">
                  <c:v>0.2951</c:v>
                </c:pt>
                <c:pt idx="6">
                  <c:v>0.3517</c:v>
                </c:pt>
                <c:pt idx="7">
                  <c:v>0.3496</c:v>
                </c:pt>
              </c:numCache>
            </c:numRef>
          </c:xVal>
          <c:yVal>
            <c:numRef>
              <c:f>Sheet1!$B$2:$B$9</c:f>
              <c:numCache>
                <c:formatCode>General</c:formatCode>
                <c:ptCount val="8"/>
                <c:pt idx="0">
                  <c:v>0.3363</c:v>
                </c:pt>
                <c:pt idx="1">
                  <c:v>0.5238</c:v>
                </c:pt>
                <c:pt idx="2">
                  <c:v>0.4895</c:v>
                </c:pt>
                <c:pt idx="3">
                  <c:v>0.6218</c:v>
                </c:pt>
                <c:pt idx="4">
                  <c:v>0.6295</c:v>
                </c:pt>
                <c:pt idx="5">
                  <c:v>0.6515</c:v>
                </c:pt>
                <c:pt idx="6">
                  <c:v>0.7677</c:v>
                </c:pt>
                <c:pt idx="7">
                  <c:v>0.6351</c:v>
                </c:pt>
              </c:numCache>
            </c:numRef>
          </c:yVal>
          <c:bubbleSize>
            <c:numRef>
              <c:f>Sheet1!$C$2:$C$9</c:f>
              <c:numCache>
                <c:formatCode>General</c:formatCode>
                <c:ptCount val="8"/>
                <c:pt idx="0">
                  <c:v>14944.044795783924</c:v>
                </c:pt>
                <c:pt idx="1">
                  <c:v>42879.101283880176</c:v>
                </c:pt>
                <c:pt idx="2">
                  <c:v>7261.435331230284</c:v>
                </c:pt>
                <c:pt idx="3">
                  <c:v>42642.53684210526</c:v>
                </c:pt>
                <c:pt idx="4">
                  <c:v>6803.554502369669</c:v>
                </c:pt>
                <c:pt idx="5">
                  <c:v>51342.777129521586</c:v>
                </c:pt>
                <c:pt idx="6">
                  <c:v>52579.06283280085</c:v>
                </c:pt>
                <c:pt idx="7">
                  <c:v>6009.7767857142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8EDA4EA-8C73-4AF2-9C6F-60DBFD486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026EB52-3072-42BC-A87F-54FEA4A99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111C0B-A3C0-4507-8394-B2FB2A341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BF715DF-BE18-4E79-AF4C-5FF986999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D403F4E-542E-4734-AA2C-F9880E7A8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063F761-956A-477D-BB3E-7DD59D6AE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8F61527-58F2-4938-8692-914071800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11C08AF-01E2-43D1-A3DD-F390C4DD4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251748E-757F-49A0-815A-6DF2CF075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B37AD0A-63A5-4FBA-8B5E-60236E9E2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EBEDE54-3E41-4B67-B385-3252B76CA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B265371-90A0-4C39-BD51-E7844A3BA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95DDF02-25B7-4B5A-BEE2-7C761E24F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5C6D03F-CEF0-4049-826C-92141295D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C02A365-4647-4B37-B55B-54FD14344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5038170-82FF-44C8-84DA-C0A8436A1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B9F8280-CC18-4330-A1B1-C0B3EA3F1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5C404B0-D783-478E-93CA-D3DC7A1C1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AD5A9A8-6AB6-4087-9143-8AAB55444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BD6D50C-3E1F-43E5-A99A-8900D6D62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665C036-5781-4BAF-9BF6-BAE77E24A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978601F-EE77-45FC-9513-5F4BB5111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CC2F429-F609-469E-B322-B76506E51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18105A6-D24A-406A-AA1F-C0222347B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B54C0C8-5EF9-4F83-AF4C-4317AB93A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1E50BD3-D83F-4434-995F-EF4698CA2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98DB45E-8989-4674-AF2E-0050D5DBC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AB423AF-82E7-4E2B-AA4C-42D8F0890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833E270-2031-4319-887C-B14BB2F99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7EC6F5F-16BE-4301-8C3B-69F474366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23B5DC4-DFFF-4F4B-BDF1-EFA92A914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5EC5B32-78DE-4E22-AF91-9BC1F2053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0F17D66-8149-4FC2-9CB2-E22E523E4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7260BA7-453B-4A57-8E5B-2E03871B3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F8D874A-7670-4B99-BED6-7E10D3FF8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8D1A551-3BFF-4747-B2A3-B155006B0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634C4A5-A8B4-4A67-A1A0-C023079C3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6158A36-D9F2-46D5-9E6B-177442C8B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0294BF4-0459-4709-BC72-11A8C4122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8659B52-C4C3-4350-AC88-E34177338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CC107CD-B52C-49D9-98CF-4D1D60ABD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824FF51-3204-4B1A-B9B4-324D8EF90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7DEB807-5533-460F-84FF-1C386EBCB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ECAA689-795B-4630-800E-79CA414F7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DE060A1-90D6-4E80-AE8C-44B0C60B7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021AEE4-2459-4C48-A485-846328E33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24562CA-26FD-4C1A-91FF-C9341F279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A53B7C6-280D-48C2-A89B-34C86B4B6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C143FF2-206A-4BAC-B70D-90FAD57D7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1033750-163D-4916-97C2-561BA7EB1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3986156-C596-4EC3-88D4-8281306A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D5B489D-046A-4915-A1C4-461C7BFCC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D2EE080-7E91-4117-822C-6025AC213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E1C7332-ADCF-4895-84B6-759579DDD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41E2C09-C9D2-4381-AEA3-8A12CFB45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DB8F401-8709-4FDA-9691-47EE66CD1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C6D3F76-7B3B-40F3-BBDE-A9E7EE37E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7</c:v>
                </c:pt>
                <c:pt idx="1">
                  <c:v>0.4473</c:v>
                </c:pt>
                <c:pt idx="2">
                  <c:v>0.5474</c:v>
                </c:pt>
                <c:pt idx="3">
                  <c:v>0.4477</c:v>
                </c:pt>
                <c:pt idx="4">
                  <c:v>0.299</c:v>
                </c:pt>
                <c:pt idx="5">
                  <c:v>0.4032</c:v>
                </c:pt>
              </c:numCache>
            </c:numRef>
          </c:xVal>
          <c:yVal>
            <c:numRef>
              <c:f>Sheet1!$B$2:$B$7</c:f>
              <c:numCache>
                <c:formatCode>General</c:formatCode>
                <c:ptCount val="6"/>
                <c:pt idx="0">
                  <c:v>0.4911</c:v>
                </c:pt>
                <c:pt idx="1">
                  <c:v>0.4934</c:v>
                </c:pt>
                <c:pt idx="2">
                  <c:v>0.4797</c:v>
                </c:pt>
                <c:pt idx="3">
                  <c:v>0.5165</c:v>
                </c:pt>
                <c:pt idx="4">
                  <c:v>0.0105</c:v>
                </c:pt>
                <c:pt idx="5">
                  <c:v>-0.0026</c:v>
                </c:pt>
              </c:numCache>
            </c:numRef>
          </c:yVal>
          <c:bubbleSize>
            <c:numRef>
              <c:f>Sheet1!$C$2:$C$7</c:f>
              <c:numCache>
                <c:formatCode>General</c:formatCode>
                <c:ptCount val="6"/>
                <c:pt idx="0">
                  <c:v>88856.37563451777</c:v>
                </c:pt>
                <c:pt idx="1">
                  <c:v>34693.635394456294</c:v>
                </c:pt>
                <c:pt idx="2">
                  <c:v>37190.41710114703</c:v>
                </c:pt>
                <c:pt idx="3">
                  <c:v>39700.24149286498</c:v>
                </c:pt>
                <c:pt idx="4">
                  <c:v>17923.486707566462</c:v>
                </c:pt>
                <c:pt idx="5">
                  <c:v>38983.2186234817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9DB7ADC-AA1E-432E-A978-B96E31279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6024A2C-8C9A-47B3-A906-5272C22F6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C4097C-2049-49FA-9B0E-F0EB01352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F73CE6-2C4F-4D78-9352-7F36214F4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71EBD5A-D44B-45B2-A523-7EECF3592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1FA2357-E12E-43B5-883E-39BF47EDC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6015CDB-EE86-44C5-94F4-EA2ABACE9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9D4A924-9273-433B-B4D3-E17984BCD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40DDAF1-BF6B-4E97-B0CE-64DBE3205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1FC3940-E8FA-42DD-8CF1-C054406D9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73A6A96-46C0-48E4-B393-F1313F10F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957858-9589-4DD1-A15E-991EB5A1A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94C3158-C5B9-4CB3-B32C-EC2EDB018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277BEAD-39FA-47B0-9B5B-9816B5496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C3C1571-9628-4008-8194-85296DAE1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F7BB7F4-80F6-4CED-ABF0-0E598F7E5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AE4092D-2EC5-4626-86FF-F85C7E335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80B5C06-9880-4248-BA5D-DC23FBD76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4887F73-AAE8-4885-8FEF-8D5C2230D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EB55217-B279-4C54-9275-B8FB115E6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9B5163E-6949-4E4F-A29C-EC81FE181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7E24D99-2C8F-41C3-91AE-E8C42348F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9A62435-E482-4A56-B5FB-77D42D87E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7769385-D772-4F26-8BC2-C484FC4E5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67AE42B-B198-4679-8F2E-C78220F6C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DA3A6F7-7078-4B0A-A2B2-B57F690BC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6E287FC-E06F-40DA-B260-11514681C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F20195A-37E3-4BAF-9834-86A7E1102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BA0EACC-7D60-4456-A5B9-427519195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FA2F352-544E-404B-88E9-BF07F980E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D0C97E3-D5F6-476B-B787-CD839ECC5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320D5A0-2A82-408E-BC5E-BB43D78D7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4C6FC72-D59D-4F9E-A312-0859ECEDB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90CBEDB-E4AE-4D75-818E-E8BD6B85E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DC014ED-2A7A-47FE-9EEF-391BD2FA5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37C80A0-CD44-4181-9754-A1E33DB41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2E64971-E768-4175-823C-2D839EF64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6696529-F98D-4D76-8D73-05540BACB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8024C85-71D3-466E-AE31-71E665451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EFAFA53-64C9-4C18-BEC3-24C9B34C8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7FB4D5E-5412-4CF2-8B35-3EE222DD6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839ABE2-2BCC-47EA-98C1-555AB189D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E77E24E-579A-4686-8C30-3D2877A28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AE52890-531C-4B24-816E-C0ACDB7A7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F6E8AB8-9296-4BE4-8F59-2FBE74851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88A9974-645B-4883-A97C-502C642FC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1136E9F-DE89-4F63-A70D-9FD91DB31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00CA8C4-6831-4342-947E-4A44DBF1C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888298F-E5F3-486F-B913-4ED7B0AFD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A93402C-49A6-4481-AA97-9A073543A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1CF7DD8-5FDA-4118-807C-552607B6C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E7A0522-564E-4B6B-8A82-A8701309E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6449271-4E14-445D-BDE5-211741340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602CFBD-B6F7-462F-9BA5-86FDF943A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A800300-034E-4EB7-B32C-39FEE6530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22A7A27-20A5-4E29-B768-5C75EBF1F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6DB0E7E-7AFA-4F9A-ABD8-093458259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098</c:v>
                </c:pt>
                <c:pt idx="1">
                  <c:v>0.368</c:v>
                </c:pt>
                <c:pt idx="2">
                  <c:v>0.3539</c:v>
                </c:pt>
                <c:pt idx="3">
                  <c:v>0.3752</c:v>
                </c:pt>
                <c:pt idx="4">
                  <c:v>0.327</c:v>
                </c:pt>
                <c:pt idx="5">
                  <c:v>0.301</c:v>
                </c:pt>
                <c:pt idx="6">
                  <c:v>0.3579</c:v>
                </c:pt>
                <c:pt idx="7">
                  <c:v>0.3568</c:v>
                </c:pt>
              </c:numCache>
            </c:numRef>
          </c:xVal>
          <c:yVal>
            <c:numRef>
              <c:f>Sheet1!$B$2:$B$9</c:f>
              <c:numCache>
                <c:formatCode>General</c:formatCode>
                <c:ptCount val="8"/>
                <c:pt idx="0">
                  <c:v>0.3363</c:v>
                </c:pt>
                <c:pt idx="1">
                  <c:v>0.5237</c:v>
                </c:pt>
                <c:pt idx="2">
                  <c:v>0.4895</c:v>
                </c:pt>
                <c:pt idx="3">
                  <c:v>0.6218</c:v>
                </c:pt>
                <c:pt idx="4">
                  <c:v>0.6295</c:v>
                </c:pt>
                <c:pt idx="5">
                  <c:v>0.6515</c:v>
                </c:pt>
                <c:pt idx="6">
                  <c:v>0.7677</c:v>
                </c:pt>
                <c:pt idx="7">
                  <c:v>0.6351</c:v>
                </c:pt>
              </c:numCache>
            </c:numRef>
          </c:yVal>
          <c:bubbleSize>
            <c:numRef>
              <c:f>Sheet1!$C$2:$C$9</c:f>
              <c:numCache>
                <c:formatCode>General</c:formatCode>
                <c:ptCount val="8"/>
                <c:pt idx="0">
                  <c:v>874.0</c:v>
                </c:pt>
                <c:pt idx="1">
                  <c:v>3373.205882352941</c:v>
                </c:pt>
                <c:pt idx="2">
                  <c:v>574.65625</c:v>
                </c:pt>
                <c:pt idx="3">
                  <c:v>3032.8736842105263</c:v>
                </c:pt>
                <c:pt idx="4">
                  <c:v>506.07142857142856</c:v>
                </c:pt>
                <c:pt idx="5">
                  <c:v>3945.977011494253</c:v>
                </c:pt>
                <c:pt idx="6">
                  <c:v>4372.0</c:v>
                </c:pt>
                <c:pt idx="7">
                  <c:v>413.272727272727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C24E77C-06B0-47B9-ABDB-42C939D51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BC248AF-9E69-470D-A692-F8B0AF23B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48C3B7-D0F4-45B9-B994-0E6B46AC1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320E543-CC4C-48CC-85D4-623DF69B5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DF8FE0C-CD40-4ABB-B452-E34B1A621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6942414-873B-44AE-B5B2-2424FE19E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FE2F9FE-90F3-4D60-A61D-1C7DC019C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C779186-C13E-4495-A46D-A7123EC85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9FD60AE-7BE1-45E0-B5ED-3409F6B6C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402D81D-6E4C-4BA0-8AF6-7F5525AD8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B5B26BE-C9F7-480A-B3E0-D65D04115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F2184BE-215C-485E-B0FA-81651C0F1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7252CC5-61ED-4877-AFF3-F7AE04F02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03DE02B-4D2C-4E7A-8BB6-3818202C2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E8C62D6-9423-4305-B0AD-E6C4EDDDA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29ED73F-0698-42F7-A224-A5212ADF9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CCE88E1-E612-4517-B549-56A2DDD1D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584D3F8-420D-4004-96FE-EE3AF947F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97C73D5-FBF3-41D2-965D-86C582748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4587AAC-878A-4EB8-815C-94C831FF2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A7E4C62-6DA1-4971-99DF-2CF7D7AA4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3ED4C52-EF11-444B-A06C-38A5812D6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B8BFE5A-1F4E-41FA-98E6-9EBBD38AA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56AA394-2D15-456D-9658-299A53282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AC21D2F-DE14-4BFD-8973-EBEDFB3D7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F8A6670-8503-496F-92E4-3ACDA806A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8343D7B-503F-45FD-981A-1E1F26A24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57F6F57-E81F-41DE-B21B-816385A54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49A78E7-7524-405C-B749-3CF880725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255C537-BD7D-4264-A8BE-C85261E17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93CFF53-7575-4A0D-B6F1-617DFABBE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3BD21E9-0E22-4E97-BE9D-9ECBB03F5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83F0102-B4D1-44E6-B8D6-F8409FEDB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BC321C0-00A7-491D-A5B9-EB3D39C1A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D0D297B-6581-4397-8B9A-1F74049CB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59BC67F-00DB-4053-BA23-50E3DE058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BFB2C5D-DDEB-4BB2-AF95-E50E42DDA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D8D55F6-6908-4839-86F4-E9601ED76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58857CE-91D6-4C54-8BB5-BE4A421A0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5FBFBFC-0B50-4FD1-A3A4-4B3BAD541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3AEA6F5-73D5-4D96-8186-9EB27653C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2973DEB-593E-4941-8E61-1B4CF38B2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CB2A820-249A-4400-88A4-11E224E10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05F6741-2F9F-4840-BFFC-52C9E3D30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9C2457A-8FEE-49B6-8E5D-2D00F20D2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5A83A6E-E240-4633-9310-D90434BB1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230A6FE-D54D-4F93-A4B3-086A80F17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CF14AC0-83F9-481E-8CD5-97A0808F4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45BA91E-7005-40F9-BFB6-BFC606006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6A2A968-89F1-4B8C-870D-70DD67C62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2DF5532-76D5-487A-BFC9-6D55C39F6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88AB318-57CF-4368-80E0-AF3994642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2B129F0-1D2F-4916-AAE2-2A1C55107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1DD2087-07CD-4B18-9DEC-36C9352D9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976C03E-B360-49C1-B534-3027F080A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97F3F0A-D38C-43A1-9AE0-57D8DEA86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94F1814-EE6B-483A-B20F-F1F215D53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87</c:v>
                </c:pt>
                <c:pt idx="1">
                  <c:v>0.4532</c:v>
                </c:pt>
                <c:pt idx="2">
                  <c:v>0.5509</c:v>
                </c:pt>
                <c:pt idx="3">
                  <c:v>0.4479</c:v>
                </c:pt>
                <c:pt idx="4">
                  <c:v>0.3088</c:v>
                </c:pt>
                <c:pt idx="5">
                  <c:v>0.4033</c:v>
                </c:pt>
              </c:numCache>
            </c:numRef>
          </c:xVal>
          <c:yVal>
            <c:numRef>
              <c:f>Sheet1!$B$2:$B$7</c:f>
              <c:numCache>
                <c:formatCode>General</c:formatCode>
                <c:ptCount val="6"/>
                <c:pt idx="0">
                  <c:v>0.4911</c:v>
                </c:pt>
                <c:pt idx="1">
                  <c:v>0.4934</c:v>
                </c:pt>
                <c:pt idx="2">
                  <c:v>0.48</c:v>
                </c:pt>
                <c:pt idx="3">
                  <c:v>0.5166</c:v>
                </c:pt>
                <c:pt idx="4">
                  <c:v>0.0104</c:v>
                </c:pt>
                <c:pt idx="5">
                  <c:v>-0.0032</c:v>
                </c:pt>
              </c:numCache>
            </c:numRef>
          </c:yVal>
          <c:bubbleSize>
            <c:numRef>
              <c:f>Sheet1!$C$2:$C$7</c:f>
              <c:numCache>
                <c:formatCode>General</c:formatCode>
                <c:ptCount val="6"/>
                <c:pt idx="0">
                  <c:v>6191.265306122449</c:v>
                </c:pt>
                <c:pt idx="1">
                  <c:v>2490.9578947368423</c:v>
                </c:pt>
                <c:pt idx="2">
                  <c:v>2380.074468085106</c:v>
                </c:pt>
                <c:pt idx="3">
                  <c:v>2854.177777777778</c:v>
                </c:pt>
                <c:pt idx="4">
                  <c:v>1268.8556701030927</c:v>
                </c:pt>
                <c:pt idx="5">
                  <c:v>3147.91919191919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4B69350-CDB4-49DD-9E44-1F72B0E8C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FA5FF8D-9EC1-4105-9A46-BDBFB9397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56EF726-83C4-48E4-92C4-3857CD542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4F74F9B-349E-409A-8ED9-02F4421A0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9AF4E80-40B6-4B37-81B5-D0D675EAD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3698746-15C5-4ACF-A982-F0DFCB2F1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2B4A781-C35F-4B04-9495-15C65281B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D450D8F-66E2-4EC9-913F-E70D6DDAF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90F6D8B-DA34-4248-B237-3955D9E11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A63DF8C-203A-4F86-B5D8-FAD739257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FD09B38-9F02-4714-940D-5F86F92DD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C60EE28-520E-4D15-9612-A15564B08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6649018-9D85-4984-9D4C-B454CFC95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877E631-7BE1-4ADD-A55D-AFB4F6BF0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FDD349C-2B5C-449A-82D4-9EF963D94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E2C1B51-9DEE-4BC5-B660-C2EFAD053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A07DCC0-7667-4E65-BEE6-EC2CD800B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944D391-E3E2-461E-BFEE-772553DD9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01B082A-3904-4E33-95C6-1EB30FFDD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4189D8B-EBD2-4019-B7EA-0E9F839A3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FCDF6B6-E71F-4638-9C41-922503E45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5C846E1-A3E2-4C70-8CDD-8F5D4CE70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DF92AE3-054E-4AA6-A9B4-12767BEF6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8576C17-3C93-4BE3-AD18-A338B326C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2CBA932-8823-4421-AE2B-DA2A5698A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B3641CA-B5ED-49C3-86E2-A83511484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B9C0709-EC27-4903-9736-6333F4E67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E3C2D8C-22EF-4A69-B49D-AFB189A6C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B7AE2D6-03D8-4677-8968-B7CD4E7A4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E57B5A6-148F-464C-BE6D-3D06A2B18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BCE9AE4-5AFF-4AAB-BE25-B6B510DDD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D4464E4-F18C-4CC2-A1DA-704D62DCF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8BB9D76-23B2-4FD5-8A22-7FB43A6D5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47218B4-5297-4172-9C0A-DA510F5F0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31D2F9E-371C-4F59-9FDF-CA59F0B72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1EAC00A-EFEC-4038-8782-F87A989DA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227B226-8AA0-4362-A72A-07CEB7CB0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493B73A-C42D-487C-BAD9-5188E2517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208CC81-78DD-4492-B955-8377B51E4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0BD456E-FEBE-4982-970B-4B3375E7B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E29CC37-FE9E-4A94-B2EF-40890C67F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959BEBA-25EA-4629-9143-E815EFA68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378DC44-42D6-4A28-AE35-8E1B8AF2C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0AA31D2-0324-489A-AD36-4521A135E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F630912-2D30-4F10-8486-1A570721C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BFABF94-E5BA-4F5A-8D7A-6BA2D0811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F66E3DD-1C58-4C31-AD69-6D12C101F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7D87E00-3A2D-4E40-8DDC-B0DC77971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1141245-8A17-4EF1-8A79-8BC29C7FE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ECF66A2-FBE8-471C-8FBE-55BC26BD4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C553E5F-3547-4712-B710-AF1CECB38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D1617FA-7B3B-41A2-BEA7-1F788B599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CC50B54-13DE-4344-922A-D59ED72D3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F2C664A-6588-42E2-8F1E-DC8D54E31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309918B-6DD6-4B0F-A045-7AC39F1FE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216E339-302B-4A93-BABC-F2E38D171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A3C96A4-625A-4B9A-BF25-A594F1613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585</c:v>
                </c:pt>
                <c:pt idx="1">
                  <c:v>0.3458</c:v>
                </c:pt>
                <c:pt idx="2">
                  <c:v>0.3705</c:v>
                </c:pt>
                <c:pt idx="3">
                  <c:v>0.3215</c:v>
                </c:pt>
                <c:pt idx="4">
                  <c:v>0.2958</c:v>
                </c:pt>
                <c:pt idx="5">
                  <c:v>0.3532</c:v>
                </c:pt>
                <c:pt idx="6">
                  <c:v>0.3506</c:v>
                </c:pt>
              </c:numCache>
            </c:numRef>
          </c:xVal>
          <c:yVal>
            <c:numRef>
              <c:f>Sheet1!$B$2:$B$8</c:f>
              <c:numCache>
                <c:formatCode>General</c:formatCode>
                <c:ptCount val="7"/>
                <c:pt idx="0">
                  <c:v>0.5245</c:v>
                </c:pt>
                <c:pt idx="1">
                  <c:v>0.4895</c:v>
                </c:pt>
                <c:pt idx="2">
                  <c:v>0.622</c:v>
                </c:pt>
                <c:pt idx="3">
                  <c:v>0.6295</c:v>
                </c:pt>
                <c:pt idx="4">
                  <c:v>0.6518</c:v>
                </c:pt>
                <c:pt idx="5">
                  <c:v>0.7677</c:v>
                </c:pt>
                <c:pt idx="6">
                  <c:v>0.6351</c:v>
                </c:pt>
              </c:numCache>
            </c:numRef>
          </c:yVal>
          <c:bubbleSize>
            <c:numRef>
              <c:f>Sheet1!$C$2:$C$8</c:f>
              <c:numCache>
                <c:formatCode>General</c:formatCode>
                <c:ptCount val="7"/>
                <c:pt idx="0">
                  <c:v>4859.933333333333</c:v>
                </c:pt>
                <c:pt idx="1">
                  <c:v>743.5416666666666</c:v>
                </c:pt>
                <c:pt idx="2">
                  <c:v>3557.604938271605</c:v>
                </c:pt>
                <c:pt idx="3">
                  <c:v>609.5901639344262</c:v>
                </c:pt>
                <c:pt idx="4">
                  <c:v>5031.307692307692</c:v>
                </c:pt>
                <c:pt idx="5">
                  <c:v>4400.727272727273</c:v>
                </c:pt>
                <c:pt idx="6">
                  <c:v>536.436619718309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31BA4D1-9C11-403D-A5BC-7EB53566A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E530086-4976-4777-A72C-2685A1577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FC2B464-F0D6-4035-84A3-2A3277925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4CB5D3A-FCD8-4628-A075-A770C4476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5871DC3-0B71-4E13-94EB-332487B55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E05CFC7-F454-4D5B-9683-E3AD6DDA2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9D3A7A5-7CEB-48BE-A16B-27A833F04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6E5A925-DFF8-4CB7-993E-44C525E55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675</c:v>
                </c:pt>
                <c:pt idx="1">
                  <c:v>1.3365</c:v>
                </c:pt>
              </c:numCache>
            </c:numRef>
          </c:xVal>
          <c:yVal>
            <c:numRef>
              <c:f>Sheet1!$B$2:$B$3</c:f>
              <c:numCache>
                <c:formatCode>General</c:formatCode>
                <c:ptCount val="2"/>
                <c:pt idx="0">
                  <c:v>0.3388</c:v>
                </c:pt>
                <c:pt idx="1">
                  <c:v>0.6511</c:v>
                </c:pt>
              </c:numCache>
            </c:numRef>
          </c:yVal>
          <c:bubbleSize>
            <c:numRef>
              <c:f>Sheet1!$C$2:$C$3</c:f>
              <c:numCache>
                <c:formatCode>General</c:formatCode>
                <c:ptCount val="2"/>
                <c:pt idx="0">
                  <c:v>912079.5516000001</c:v>
                </c:pt>
                <c:pt idx="1">
                  <c:v>386945.9783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038"/>
          <c:min val="0.2140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260616620214"/>
        <c:crossBetween val="midCat"/>
      </c:valAx>
      <c:valAx>
        <c:axId val="1011451359"/>
        <c:scaling>
          <c:orientation val="minMax"/>
          <c:max val="1.1413200000000001"/>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592734523439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F2A3EDB-F796-449A-85F2-7EA53FE2C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451E57F-0DD9-4A69-9A4F-1126488BA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127A76-21D0-407B-9882-E20304001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DDEFA37-8CF9-4C4B-BB62-D2C704E9F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AEBCA0D-2C8A-4C77-A7E5-3674DF3F9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D722E50-F5D0-4E2C-BDB8-41AAD163E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B1F3DEA-23A1-487D-8677-D27851BE3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9DDE45C-A08A-4571-8F5B-98A9C0F2B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8437F41-D50A-4CBF-90A5-D124E13AA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1D66C80-919A-4290-BA4C-3EF0E4397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F220D04-18E3-4EE7-803F-2F28A9CBB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AA89A1E-2D93-4984-8F16-89946122F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B78AFCF-9CD8-4366-9A95-BF513C62D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FACE7CC-73F0-43E9-BF51-7DEA2CE3D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267BE12-D289-42B3-BAD8-2F3D5A483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479037F-7F56-488A-B23E-956E66C0B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C895BF6-6983-4BE1-960A-A456AC0BF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95BAC0E-64B2-427B-903E-A0D523CD3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6850E64-D076-435F-95CA-FED9CC741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A93797B-55B9-4E30-8EA1-420F09D22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EC419C3-0A0A-4D3E-B336-17A63C911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5B0CB44-1FB5-4FCF-8CE6-E6EDC2B03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3F58D99-913E-426F-A00A-3469D11AB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98A3156-BA93-4726-9B60-D7CDBD299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3C97FD8-4F3F-4F60-A41B-83074815A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0DF3C9D-3001-4D5E-AD62-5B2895997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0A6C988-F527-4D77-AB6C-F0B6CEBC1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1FD8DAB-B34A-4A06-8159-64FF6E92C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56096B2-9258-44DB-9789-1312C0DD2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B5C52FC-9569-40F1-A268-ACDBB5573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13DE3D9-A8BC-46F2-B91B-04CB20162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05B9AF1-FFF1-4813-A029-737445822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77E5D0D-3B04-4DC9-AE58-D1C49E07B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B9A6244-4EBE-453D-B551-CDF873B3C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C3F1745-32E3-4E36-BD90-8AC27FF01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15452ED-6392-43D3-AB62-F0B121BAF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0DD1F1E-B786-4B7B-AA5C-9B7EF569D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E8D6720-96DA-4CE3-AAF3-1A3AC716D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8C4BD0D-DF2E-45DB-8681-A860E0DBB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24A8409-087D-4E5C-9D69-04823E3D1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73F0309-C158-425A-AAD8-92BFD0C51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FA86D7D-8ABF-47FA-AD94-40DADAA0B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72B46F4-C874-4275-AD8B-4EBCBED42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BDD5EFB-C854-4E08-9D65-7AAEA3D3D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C4F1DB4-B3F0-4451-86A6-C9EE13DBE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D7E0C90-7716-4F21-955E-A84624E77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36E5E59-77BF-4CDE-92D3-B8DF8C907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6A2D6DD-2796-46FE-955F-D44AB8317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D4E0ABF-D56E-4A24-B72D-5AC2B2D56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003BC10-3648-4B17-A763-C974F6F8F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CE36F28-B234-4F00-BEA9-6A55AC3AF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57E543F-C47F-45C6-89A8-73B49D423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7CCBFB9-CB37-4A3B-ABD3-6074951E6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417E178-C597-4AEC-A922-2C477BC9C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54DCAD9-AD1C-4179-B2C0-9D0DD8E08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6A7A3D3-FECA-44E2-BF3E-DC45E2C17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F7D845C-0FE0-4022-BF4D-0B2C9769F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44</c:v>
                </c:pt>
                <c:pt idx="1">
                  <c:v>0.448</c:v>
                </c:pt>
                <c:pt idx="2">
                  <c:v>0.5479</c:v>
                </c:pt>
                <c:pt idx="3">
                  <c:v>0.4473</c:v>
                </c:pt>
                <c:pt idx="4">
                  <c:v>0.3031</c:v>
                </c:pt>
                <c:pt idx="5">
                  <c:v>0.4032</c:v>
                </c:pt>
              </c:numCache>
            </c:numRef>
          </c:xVal>
          <c:yVal>
            <c:numRef>
              <c:f>Sheet1!$B$2:$B$7</c:f>
              <c:numCache>
                <c:formatCode>General</c:formatCode>
                <c:ptCount val="6"/>
                <c:pt idx="0">
                  <c:v>0.4909</c:v>
                </c:pt>
                <c:pt idx="1">
                  <c:v>0.4936</c:v>
                </c:pt>
                <c:pt idx="2">
                  <c:v>0.4789</c:v>
                </c:pt>
                <c:pt idx="3">
                  <c:v>0.5158</c:v>
                </c:pt>
                <c:pt idx="4">
                  <c:v>0.012</c:v>
                </c:pt>
                <c:pt idx="5">
                  <c:v>-0.0022</c:v>
                </c:pt>
              </c:numCache>
            </c:numRef>
          </c:yVal>
          <c:bubbleSize>
            <c:numRef>
              <c:f>Sheet1!$C$2:$C$7</c:f>
              <c:numCache>
                <c:formatCode>General</c:formatCode>
                <c:ptCount val="6"/>
                <c:pt idx="0">
                  <c:v>5807.010989010989</c:v>
                </c:pt>
                <c:pt idx="1">
                  <c:v>2923.9189189189187</c:v>
                </c:pt>
                <c:pt idx="2">
                  <c:v>2862.6341463414633</c:v>
                </c:pt>
                <c:pt idx="3">
                  <c:v>3479.353846153846</c:v>
                </c:pt>
                <c:pt idx="4">
                  <c:v>1727.178947368421</c:v>
                </c:pt>
                <c:pt idx="5">
                  <c:v>3081.30526315789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7145DAF-6D8A-4F30-9819-9841ACD50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11D0EE4-B82C-4882-BA49-119A4058D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7978ED-5162-451E-93C2-2D988024E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0FE7836-A91B-44BE-8EF3-A2AEB65D4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2FD65BA-3D11-4B77-9A65-A5654927C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E71ABFF-2AD1-4508-9AE9-7181FACF5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CDAC37B-9FFB-43A5-956B-AD549F3D2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2B5B6CE-A9DA-4C0C-8254-A1F92D019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5FA3573-4ED0-4678-8DB8-A36E7EEDF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8D66516-01A0-4933-9BA7-6B7E10BD2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3EB17CF-E9BB-4905-8FA4-3216B5C62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07A1172-DB5D-40EB-BB93-A48CFA756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E009074-C621-4DD0-B7F6-44FBB6F6C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ADC7E9C-A355-4A8D-AFB1-8B42AF9C5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43E82F5-1174-42C4-A64A-CBD9659A2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37308EF-6C41-4D12-A201-FAB44E188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3C6824E-A8F0-474B-9436-33842BB01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0E27989-B2B0-4884-9A28-4462CCB04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6E83991-DF5C-44D9-9F7F-4660FD723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BAC4736-BB53-45B0-AC84-E6AC464FE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3ECCD81-3EB5-45D2-8517-36842A83B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D54A6D2-E499-4524-9789-03D689C2E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2DB84BF-387E-47B6-827C-24ADA6FAE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F3DF545-B078-4F49-9BEA-1F6D63D01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BF09756-EF1F-4FFC-8133-3D8942AA4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E0AE11C-5CB3-4054-96DA-08168AB3F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B5C5973-922B-43B5-9C10-F1C40414A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00150BB-EBC3-4D0A-AD68-1EEFFEB37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E9F6826-3E40-4499-8413-644CCE7FE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2BB6AD5-81FF-44A1-9A54-B04E9A857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16CFB71-7B5C-4DBF-AEC2-04AF887E4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B70D5B3-65AE-4568-8F13-08ADB0A24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7652683-41AE-49C3-9099-7811369D2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93C219F-5D80-4A3D-8842-077C1541F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06CD845-5CEF-4A9E-8D1F-6ABCCB2E7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E945E25-226C-4717-AA07-3CC2B8646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DBC458A-5788-4FFE-A7DA-1934013B9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88CB117-FE99-4A5E-BBAB-DB0AD39F6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B18D2E5-CC5A-4AEC-80B0-C89E1509C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8C34EAA-7B65-4E24-A9B1-828210D01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0C1C31B-E48B-4D57-AC27-6FC748047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B7A3A0A-AE4D-4D8B-9057-C94D476B3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62D0E6F-426C-483B-8BE8-58CB5667B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ADC869F-A5E3-48AF-A1E7-548A59FA5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07A9685-DF1E-48BC-A119-27FF6B4DE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96D1B27-8153-4605-BFFF-143C61012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686D561-0E42-4794-B6B2-A9238BA18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DDCDE7F-A715-4518-96CD-093A9ADBD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1AF41C8-0929-4D0A-A06E-0D64F43F0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E3E7CF9-2984-4043-8B84-DF454677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2BEDE2F-1700-401C-90E5-962731274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001CC98-0493-4C03-812D-37D5B853A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6135C71-9AFE-4964-8883-1A60DACD9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67EA135-276E-4CE4-8C91-B31CA4A91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B3181BF-AECC-41AE-B779-EB021C778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39F82CE-458C-41C9-A3D7-3C590AD05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460266B-3718-4D80-ACB0-16621A2CE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4</c:v>
                </c:pt>
                <c:pt idx="1">
                  <c:v>0.3605</c:v>
                </c:pt>
                <c:pt idx="2">
                  <c:v>0.3455</c:v>
                </c:pt>
                <c:pt idx="3">
                  <c:v>0.3698</c:v>
                </c:pt>
                <c:pt idx="4">
                  <c:v>0.3185</c:v>
                </c:pt>
                <c:pt idx="5">
                  <c:v>0.2945</c:v>
                </c:pt>
                <c:pt idx="6">
                  <c:v>0.351</c:v>
                </c:pt>
                <c:pt idx="7">
                  <c:v>0.3489</c:v>
                </c:pt>
              </c:numCache>
            </c:numRef>
          </c:xVal>
          <c:yVal>
            <c:numRef>
              <c:f>Sheet1!$B$2:$B$9</c:f>
              <c:numCache>
                <c:formatCode>General</c:formatCode>
                <c:ptCount val="8"/>
                <c:pt idx="0">
                  <c:v>0.3363</c:v>
                </c:pt>
                <c:pt idx="1">
                  <c:v>0.5237</c:v>
                </c:pt>
                <c:pt idx="2">
                  <c:v>0.4895</c:v>
                </c:pt>
                <c:pt idx="3">
                  <c:v>0.6217</c:v>
                </c:pt>
                <c:pt idx="4">
                  <c:v>0.6295</c:v>
                </c:pt>
                <c:pt idx="5">
                  <c:v>0.6514</c:v>
                </c:pt>
                <c:pt idx="6">
                  <c:v>0.7677</c:v>
                </c:pt>
                <c:pt idx="7">
                  <c:v>0.6351</c:v>
                </c:pt>
              </c:numCache>
            </c:numRef>
          </c:yVal>
          <c:bubbleSize>
            <c:numRef>
              <c:f>Sheet1!$C$2:$C$9</c:f>
              <c:numCache>
                <c:formatCode>General</c:formatCode>
                <c:ptCount val="8"/>
                <c:pt idx="0">
                  <c:v>12997.022988505747</c:v>
                </c:pt>
                <c:pt idx="1">
                  <c:v>36036.28767123288</c:v>
                </c:pt>
                <c:pt idx="2">
                  <c:v>6147.757575757576</c:v>
                </c:pt>
                <c:pt idx="3">
                  <c:v>36195.333333333336</c:v>
                </c:pt>
                <c:pt idx="4">
                  <c:v>5750.290697674419</c:v>
                </c:pt>
                <c:pt idx="5">
                  <c:v>42870.58620689655</c:v>
                </c:pt>
                <c:pt idx="6">
                  <c:v>44077.36842105263</c:v>
                </c:pt>
                <c:pt idx="7">
                  <c:v>5099.13186813186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2F93BC2-2A56-47E4-B313-190E9C03E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5C813AC-4A4D-4557-A85E-21E2D3305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A1C2810-554E-414E-BDAD-D30BCD9C9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6FB7488-3762-402A-86A3-566CC3D96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598CB5E-00CD-448F-A1BF-91980110C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D536432-5D34-4058-BA3F-AF43F7500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AA8637C-4784-4281-87C5-5BC972285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F7B2279-9D59-4E6F-923F-7FC87CEDF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9FBA962-F9FA-4C59-AEDB-EAD7C767D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D4E2C9D-1078-45AB-B687-2A3EBA442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C591F1F-4FEA-4D87-8085-C9AE85EB2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C3B92AD-17E1-43DD-8472-44EB0E1EF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2A324FB-270C-4FFF-92A3-27FD1DE05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D3697C2-3AC1-4E87-B17B-EA75C8B43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D7E8F41-EC7C-408B-8664-33945FC2A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A912128-63CB-4E7F-8EDA-AC9364903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52957D0-E49F-4F3B-905E-E703545DD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F4905F6-70EF-4184-9F46-8D4E4DC43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0ED428A-EDE0-479F-8E1E-D9AB14969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052A19A-4A50-4D56-B39F-44A5831D9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EFF284B-98AE-4A34-8D77-EC35591B0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782FB64-8D61-4427-86DB-4CBC41F14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B63AEFB-5180-46C7-9A34-2CF1FC2A0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C4D94C5-BB31-40F0-9DBE-847D50090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EEA4BC2-3D07-44FE-911B-4493386FF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F7EB21E-809D-4240-95CF-BEE8141D9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A819D5F-718E-4C9D-B14E-111800D42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86FC7A3-B866-4FCF-8D11-E57FC312D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E5797EB-970D-4448-A71B-6A9FBCF90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DFB7108-25EF-491E-9A09-8D9817544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CC4F684-85E2-422F-ACEC-A7F318EC0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67FF50E-24EC-4A5B-B6A1-4658387DF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BA240D6-1849-46BC-A68C-2D3453B60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0A5509F-E344-4DAE-A40C-749107DE9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EF3E3F5-E9E1-4A96-9C45-FB65ED6D4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A33A4EB-DEEC-4D40-8EC6-E4CFA3E1C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7E2DEBC-839D-4C21-A510-C52F32165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894CB2D-CE0F-4E90-8C7A-CFBFD6658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A4A320C-EFA4-4C1C-8B69-D4901D207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C943C37-E0D3-42A6-942B-E218592AF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8E96ADC-2F1C-44B9-B23C-5DD9958BC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A3F370E-0E8A-4D5D-8C42-AAC31261C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202383C-C3AE-43EB-A2EC-F8770D605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8323965-11AF-4790-83F1-9FDAB2EC3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1AAB5D7-DA22-47A9-B476-9B0D3B270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C1D3B8C-1116-4A1B-8369-9695F77C9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1AF5476-BF4F-4328-804E-41AF13AC8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AD831DD-10C7-4231-9D20-916C5D7B1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47C2516-3EAF-4E1B-AAF9-941BEF823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2F812E6-E089-4890-A3B1-3214BC1BC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5CD3C5E-DD84-40F2-99AA-896D41603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9452005-0CFF-4FB6-BD10-F3829110D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915440E-6249-42F6-9606-C7E20CE67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D8F653C-4269-45A6-9A8B-158A2D980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3AADCD9-01A3-4667-9ED2-6184DF3DE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23417AD-B8A6-460F-B1D8-29B84168D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3BFF538-2D7A-4454-B0D7-C35EF4A00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3</c:v>
                </c:pt>
                <c:pt idx="1">
                  <c:v>0.4467</c:v>
                </c:pt>
                <c:pt idx="2">
                  <c:v>0.5471</c:v>
                </c:pt>
                <c:pt idx="3">
                  <c:v>0.4478</c:v>
                </c:pt>
                <c:pt idx="4">
                  <c:v>0.2977</c:v>
                </c:pt>
                <c:pt idx="5">
                  <c:v>0.4032</c:v>
                </c:pt>
              </c:numCache>
            </c:numRef>
          </c:xVal>
          <c:yVal>
            <c:numRef>
              <c:f>Sheet1!$B$2:$B$7</c:f>
              <c:numCache>
                <c:formatCode>General</c:formatCode>
                <c:ptCount val="6"/>
                <c:pt idx="0">
                  <c:v>0.4911</c:v>
                </c:pt>
                <c:pt idx="1">
                  <c:v>0.4934</c:v>
                </c:pt>
                <c:pt idx="2">
                  <c:v>0.4798</c:v>
                </c:pt>
                <c:pt idx="3">
                  <c:v>0.5166</c:v>
                </c:pt>
                <c:pt idx="4">
                  <c:v>0.0104</c:v>
                </c:pt>
                <c:pt idx="5">
                  <c:v>-0.0026</c:v>
                </c:pt>
              </c:numCache>
            </c:numRef>
          </c:yVal>
          <c:bubbleSize>
            <c:numRef>
              <c:f>Sheet1!$C$2:$C$7</c:f>
              <c:numCache>
                <c:formatCode>General</c:formatCode>
                <c:ptCount val="6"/>
                <c:pt idx="0">
                  <c:v>76941.12121212122</c:v>
                </c:pt>
                <c:pt idx="1">
                  <c:v>29486.863157894735</c:v>
                </c:pt>
                <c:pt idx="2">
                  <c:v>32042.24742268041</c:v>
                </c:pt>
                <c:pt idx="3">
                  <c:v>33695.24731182796</c:v>
                </c:pt>
                <c:pt idx="4">
                  <c:v>14956.69387755102</c:v>
                </c:pt>
                <c:pt idx="5">
                  <c:v>32799.7373737373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98E5092-842E-459A-9F4F-857538C35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D552F55-461A-4E62-804A-119642CE1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8CE6346-F4F6-4F6A-8A80-35B90F096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06CD0E-515A-4126-B343-DD18A8039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04C513F-58B4-4BDF-AADA-4FA18D92F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5558A18-F1A9-468A-A12A-5F4D53CF9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376BDE1-35F2-49C6-9CB0-BE592A2E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703574-F103-454F-9A1E-C387B96D2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22BB1E3-54DB-4474-B8E1-E118432CA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CA12A96-4610-4F8C-912F-BFDC04806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89A6349-9ECA-4272-991D-3AC13D345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4071C97-AEF5-47CB-8964-8F96850A3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9B40630-5F26-471E-B9BC-E3ACB5A24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C6A2196-CCD5-42E9-87E0-CCA5739F5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9208E42-C029-435F-9453-92C72F76C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1B224AA-B6A5-4178-A4B9-7C263574D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64CDE10-DFFF-4E44-8B49-43800414D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7BD1BAE-6533-42F2-85ED-AE3EF36D3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33265F2-AFDF-4F76-BF68-02018D967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DA63F5C-0D79-4B0C-8463-1470328F0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5F07F09-6E9A-4F53-B812-9BBEE37BA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C4BF4F5-A4FF-4BA7-A29D-E12BD473F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28CF910-D974-4E51-9A0E-6F9D62FEC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784B2C3-2893-4B17-8F28-3D5F41947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B0A34CB-19C8-44B0-BB93-A5324F7CF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73BDC07-5F60-4CE5-8EC7-D91D4A868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B6F5900-9F39-4639-9EED-0FF3001AC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E2E6431-408A-4B33-A7A5-01904BC81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F28726C-A87E-4B86-8CCC-4DACC006F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BCC6BAE-210E-488C-90EE-59768696D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D8A6D94-5339-42F6-9374-2FA6905C9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859DEF9-52AF-4495-9CAA-571C90C85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ABABEE1-FF9E-4D1E-BEE6-8B4DB5C69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C549697-8177-4749-8DC2-CF30E2D9F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6F56BD1-C2D3-41CF-BB3B-017127AC3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38779FA-D89F-4498-A371-2CA70EE6A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BFE3EBA-FDDE-4AB0-9A96-D7B57AC78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678539A-E22F-469D-B979-A91ABC243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AEB6C62-8F9D-43FF-8DF6-ED42FBB84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7C7448A-63D7-4EA5-9146-7234FF44C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A07B2E7-10BF-4ED1-9F78-A2FC617C4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C1845F4-4156-4761-8264-8F1EF3A4F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A7692F4-DA9F-43EB-BF6D-769367F8C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F24B40A-CB8B-41B7-A340-7E0619EA7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11729A0-28BB-4C10-86E4-507D9D3DA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D1B2E99-9001-45A4-BAEA-16226137F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5596AAC-8C0F-406E-B131-619201BF8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C0F4A0C-822F-4D3F-8F80-67F767DCB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FCFA2AF-58AA-4320-A314-D58DA06B9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7E04947-7687-4E36-9B63-2E3E12B4D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F2617A0-C5BC-4A9B-AE57-F2C6CC63A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45C3D26-15E8-4283-907F-AB47B9102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162D0DC-174A-4264-98E1-748DB8D53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C73AA8F-78FF-456D-B028-EC4032D94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12DB377-36B3-4E19-A953-AC0E2A079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4A61B96-3FA2-4410-8B67-747EE96E9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83D3F41-564E-4A8C-AD2C-35434BBA8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917</c:v>
                </c:pt>
                <c:pt idx="1">
                  <c:v>0.3585</c:v>
                </c:pt>
                <c:pt idx="2">
                  <c:v>0.3918</c:v>
                </c:pt>
              </c:numCache>
            </c:numRef>
          </c:xVal>
          <c:yVal>
            <c:numRef>
              <c:f>Sheet1!$B$2:$B$4</c:f>
              <c:numCache>
                <c:formatCode>General</c:formatCode>
                <c:ptCount val="3"/>
                <c:pt idx="0">
                  <c:v>0.2544</c:v>
                </c:pt>
                <c:pt idx="1">
                  <c:v>0.6039</c:v>
                </c:pt>
                <c:pt idx="2">
                  <c:v>0.5305</c:v>
                </c:pt>
              </c:numCache>
            </c:numRef>
          </c:yVal>
          <c:bubbleSize>
            <c:numRef>
              <c:f>Sheet1!$C$2:$C$4</c:f>
              <c:numCache>
                <c:formatCode>General</c:formatCode>
                <c:ptCount val="3"/>
                <c:pt idx="0">
                  <c:v>1094.75</c:v>
                </c:pt>
                <c:pt idx="1">
                  <c:v>999.2</c:v>
                </c:pt>
                <c:pt idx="2">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0F0E8A5-CD5E-4773-80FE-E2089A879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2C10DDD-C7CF-4571-BF63-2246C40B3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ED30CE4-9157-475F-A21A-8B534BA79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47A397-1542-4420-A869-E64A845DD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79888DA-7F61-4BAB-9E7B-C271289D9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6975A5C-D6C4-4BF1-87C5-0FD027FBD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06FAB95-3E63-4EC7-8956-9CE546DB9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4870B51-6E09-44F6-BCAA-1BDCE329B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357B188-8862-48FD-83CA-55D9AFC9E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DB74426-2859-4C20-B142-2D0F2E9B8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9F87185-D2E8-4B90-BB9E-7CFADE49A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FEF0A18-EB97-4C38-AF59-82041BD9E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8E96FA5-4A56-4707-A44B-DA523EC9E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2351DC9-DD44-4A85-A561-7E60F85DB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596D46C-0BFD-4BC1-81ED-ADFDF2C13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D030EE8-13B3-4EB4-94D9-30F324F9D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B340933-B325-4196-9096-8D86B3258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61C9F37-20E0-432F-8C5B-303559327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920A672-E24C-4764-82FD-B3BF1A1EB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7AEAC30-FF75-4522-865B-F5B4A3A97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502919B-2EB3-4B83-9B84-D98D097BF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AE9A492-E337-4793-B334-12FA5B254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CC6CF05-DB28-4C6A-A9D2-ABA1A82A1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77C4EE6-322B-4898-A268-866D65AC4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5DF6C65-4897-4DBD-8369-8200707EB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EE03CB8-2659-4F13-99F8-09EC7A7B4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43859AE-1455-4C44-88D7-4C6B84A3F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28D75D2-3ED6-4AC4-8716-3DC5BE64A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8F05A3C-75F3-482A-A743-D812178E2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08A3442-58DD-45EC-85F6-B473E698C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1FC8E59-F46A-479A-8A74-CC9ED223C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FEC65AF-817C-4D5E-A3FF-47A93713E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B6502B2-1725-4287-BCBB-C022C0A30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FBBD2D2-4A84-4CE9-B788-C3D46AA53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22CEF45-0A97-4E1E-948B-F0E1B4157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CFCBA0A-E1C5-469A-8D86-A0B2D7B14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9B216A0-5376-49DE-82BA-AD58375CD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50D402E-FC0A-4C9A-88A4-14E179B58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933728E-EB57-4B85-BAE6-83AADCE02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878CE2E-855F-4545-9A0F-0550C620E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72B6E9D-D45E-4F46-9B7B-0D89B0044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21AA558-DB95-4A5E-87D4-8A590DCA6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0D77C68-00EE-4C10-8BEC-64E6A5411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46640FD-D3DD-4891-B0DC-7D94BC94E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8516F6D-C46F-4A91-A964-B5BE2467C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FA41F9A-5337-4D5D-9005-A3FF61831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818BAF4-E363-469C-9A5F-E9D5B0B1E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8334A67-7CF9-41FE-B03D-BEA23A802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C25D9DF-5856-4F63-A2FF-1EDFD8DBB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B384E1B-0866-46E0-81D8-30E572E01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429C582-45E5-4383-BE49-660916982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829FF4E-008F-4C1B-9199-20C9093D6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D2E33EF-C900-4D3F-9F4B-D2EFA07BC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52D8C5E-7706-438A-83F6-FB803EAE8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4E6A5F4-4BE4-4681-B7CC-356A41799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6709E72-164F-446A-9350-C50A11E57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F183055-E6DF-464E-A064-F9F22FFCF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1</c:v>
                </c:pt>
              </c:numCache>
            </c:numRef>
          </c:xVal>
          <c:yVal>
            <c:numRef>
              <c:f>Sheet1!$B$2:$B$2</c:f>
              <c:numCache>
                <c:formatCode>General</c:formatCode>
                <c:ptCount val="1"/>
                <c:pt idx="0">
                  <c:v>0.372</c:v>
                </c:pt>
              </c:numCache>
            </c:numRef>
          </c:yVal>
          <c:bubbleSize>
            <c:numRef>
              <c:f>Sheet1!$C$2:$C$2</c:f>
              <c:numCache>
                <c:formatCode>General</c:formatCode>
                <c:ptCount val="1"/>
                <c:pt idx="0">
                  <c:v>47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D9758B8-D7A0-4A5C-BC15-7225F5FFA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F1846FC-0E99-4229-8CDD-FC2E524C4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80BE1F4-2634-44B9-BEA3-3BBCB8388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42E77EC-3260-4072-8844-85FE55742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05A80EF-31DE-41BC-8F71-1292E2AF7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2E92618-76F4-43FC-9442-7389803CE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3A05CD8-0963-405D-8939-64FA0214C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CCF040D-3219-4BC2-94E1-77B5B929A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6B341DA-F7EF-47C5-A692-51561F181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ABEAB7B-03AC-420E-A115-6885FCE19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041A94F-4210-494C-8385-B07D32C3B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C15CF70-D5EC-4105-BD15-E6DB5E730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2AE1E25-D36E-4CF8-A772-2AEF9FDA9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0FC0CE2-AB63-4BEF-B824-D7D15593B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603533D-B4A4-4543-A7B6-0A6CBBB83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6EDEEFA-0F54-432E-BAE3-6AD6CA554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495AD24-8494-4D6D-BB1A-3FEEBCCF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B9192C5-7763-4411-B50F-B0EE4E9D1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599C70E-AF59-4530-9760-6D4CC6895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2B49018-61C6-4BE4-855C-B03270214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619E186-4B8A-418F-A9A9-E1EFC00DB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763D94B-85A6-4BA6-B2EC-B5A74442D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DB7967C-235D-43FA-9C18-F8C324EE9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9D25AAC-691D-4A74-85E8-F7A445A1F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47DB96D-DC1F-4024-8119-4D03570A1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A6E7C42-605F-4277-B75D-07EF8583C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6C46D80-ABF7-4FEF-A986-C259F7712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32ACF18-6798-4142-B679-AF93EB3FE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F181E78-5192-4C2E-A745-24F348EF0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B0DEC56-7CFD-46FA-A915-0BE7FDE89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1B0D287-4ABF-43E6-AC07-DEFDA7676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E935641-2AEE-4A13-8595-4B1F28613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2DE7C9D-1BC4-4BD1-B6D2-B99EB71F7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BC29C69-4E18-4F7A-815D-BDEF1E6F6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5E0044B-BBA4-4E03-8965-F446C5C24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7B66E78-0947-47D5-9375-7F7CAE488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62E2C85-9913-4E78-9A5C-8FA8EDC25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FD0B533-FEEE-4FE8-B73F-4FFF43496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352BC09-D30F-4202-AF2B-62C569E6C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7C4ED02-E007-40E2-92BA-4E21BF3E8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BD538C0-AE92-4650-9058-5316B183A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0BC82D7-1ED8-4391-9FE2-DC8DDD1FA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74FAE09-8F8E-442E-92D7-E24D6B709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778EA46-B19D-423D-8169-2C5C78F5F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8EECA6C-F3D8-4C54-B445-4B978C5D7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02AAED2-F5D4-4601-A79C-D436EDEE3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0908F74-3290-43A2-8D94-8EDFA8399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928D690-2465-4E78-B77E-39651B2DE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8328D70-F00A-462F-A264-D1368FFB2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7A80555-796A-4CAD-8C1F-48D737196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9226082-7F22-4C74-AC13-4B98B92E4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3F95961-B020-4F77-9946-E05ED9B15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3D3FB54-D478-4D06-99A1-C3CF90583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5C7EC64-D255-4B9C-9EFC-5E842A88C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EE21106-59EA-421E-A751-473F98113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6512D5E-ED95-4E5B-9DA8-9F164DD85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2AFE2CC-56FF-4465-84D8-7DD6F788C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75</c:v>
                </c:pt>
              </c:numCache>
            </c:numRef>
          </c:xVal>
          <c:yVal>
            <c:numRef>
              <c:f>Sheet1!$B$2:$B$2</c:f>
              <c:numCache>
                <c:formatCode>General</c:formatCode>
                <c:ptCount val="1"/>
                <c:pt idx="0">
                  <c:v>0.4195</c:v>
                </c:pt>
              </c:numCache>
            </c:numRef>
          </c:yVal>
          <c:bubbleSize>
            <c:numRef>
              <c:f>Sheet1!$C$2:$C$2</c:f>
              <c:numCache>
                <c:formatCode>General</c:formatCode>
                <c:ptCount val="1"/>
                <c:pt idx="0">
                  <c:v>2192.54285714285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17F9A26-DF0F-4E45-943D-19711C936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F8E3950-1D2D-4550-8F95-BA55BD7A8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11BE4EF-B01C-479C-86A3-E31AB4A5A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4EE802-F79A-4A44-BF58-65D397DE7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9F2C285-68DA-47FD-8FB5-920E75EE6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AB3A53-A0A4-4F7B-92E3-417840F22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EF70261-7490-44FF-ACEC-A34B1A42E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AF8F920-9F11-4FA0-A58F-398ACE286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524D593-3BBE-4645-858A-2CB53BE75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76AE447-D669-4D98-ABE6-BFA23931E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4208356-D11F-4877-94B5-D06432AA8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4B74945-DC84-442D-9CAC-D1A9674A7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CA0A4BC-F7AC-4A70-9C8B-0429C4520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ABB8C08-16F4-4F3F-9CC6-00CC0798E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82FAD0C-398B-4257-8773-71EA16AE1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D243186-5B8C-419D-B57A-725D97CBF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9A8AA76-0874-41CA-B0A8-F0DF0130A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AA06979-4FBA-4326-9A4F-26E4AFD6D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AEBB0FF-E097-4B8E-84A9-198CB7C69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402E3AB-2160-436A-A5C6-94B1009CD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0E86EA6-16B3-4C74-9B6B-2F89C391D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D780675-DF16-4355-9923-943052ACF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A177BD2-AE05-42DD-96A0-84948FF7F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9C9880C-3A8A-4CEC-9058-E9C765AF5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9A206BD-6A5F-45D1-B4A5-63636B495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8E7E509-F31F-4EE0-9D9F-9CCC46328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EBE0880-BF0C-4B37-9B88-693495B48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FB3001B-FA9E-49CD-87AA-C7D1B267D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6C496C2-2599-43C7-9F41-8E6FE265C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7A7F3C7-0399-4D9B-A80A-C82CDB9E5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881F36C-FB29-4875-8B96-287F2B1FE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7BBD17F-7089-4044-8DD8-BE81D3FE0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669014C-6242-4219-9237-106DC7C33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6D4B220-5A43-4008-83DC-8E15E8536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8EAFF20-26BA-44CD-BD0B-0A763C20D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62EA662-D31D-43EE-90AD-617A15B2E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14A2C5F-00D9-4E75-9225-79E522C63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785BA03-4836-4A4A-ABD1-D74AC490E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3798FE2-CE9D-4344-B5F7-2AFC2B246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106C13F-94DE-4579-8172-763E34D46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95AE6F5-86E7-40A7-8BBB-D9959360D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4344292-B5BE-408F-9367-BEA90669E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07CD7A3-3C09-4EDE-AC8D-16837E881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21FE5E8-7987-4B2F-81F7-E9676C02E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D66BAEF-8458-437F-AC4C-EEB4EDE01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CF02EDC-AF6A-4F86-B300-01003C2EC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E23755C-7FBF-4AB9-AD1C-45E629228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2784ACD-3903-41FD-ADDD-CAAC87B0C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B7FFC91-E01B-4D6E-981B-EE70DA6C4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8F86BEF-E346-4D7E-B85D-72FBD81CC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7587F36-C7A7-46FD-B3DA-8E8F34518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81300BC-4F44-419E-A7D6-9C4B999E7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B5EFA7D-A177-46C6-82BC-0D41723B5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008E725-5860-48EE-A69B-0EDE23FA8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EF6459B-D782-4038-B7B6-672F7873A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20F6458-29FC-41C0-A42F-3A449A9EC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B725FA9-8AF6-48D9-806E-D8E057E7C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583</c:v>
                </c:pt>
                <c:pt idx="1">
                  <c:v>0.2228</c:v>
                </c:pt>
                <c:pt idx="2">
                  <c:v>0.3679</c:v>
                </c:pt>
                <c:pt idx="3">
                  <c:v>0.3918</c:v>
                </c:pt>
              </c:numCache>
            </c:numRef>
          </c:xVal>
          <c:yVal>
            <c:numRef>
              <c:f>Sheet1!$B$2:$B$5</c:f>
              <c:numCache>
                <c:formatCode>General</c:formatCode>
                <c:ptCount val="4"/>
                <c:pt idx="0">
                  <c:v>0.6078</c:v>
                </c:pt>
                <c:pt idx="1">
                  <c:v>0.2544</c:v>
                </c:pt>
                <c:pt idx="2">
                  <c:v>0.6037</c:v>
                </c:pt>
                <c:pt idx="3">
                  <c:v>0.5305</c:v>
                </c:pt>
              </c:numCache>
            </c:numRef>
          </c:yVal>
          <c:bubbleSize>
            <c:numRef>
              <c:f>Sheet1!$C$2:$C$5</c:f>
              <c:numCache>
                <c:formatCode>General</c:formatCode>
                <c:ptCount val="4"/>
                <c:pt idx="0">
                  <c:v>1414.0</c:v>
                </c:pt>
                <c:pt idx="1">
                  <c:v>14923.912087912087</c:v>
                </c:pt>
                <c:pt idx="2">
                  <c:v>19149.166666666668</c:v>
                </c:pt>
                <c:pt idx="3">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8ED6937-35E7-42EC-994B-F2C3C3013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B14E48E-7F77-4A28-9D30-B4045518B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0F69EB4-85EC-4383-9AE6-FBACAE1F8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5D17E92-C7CA-4B89-8785-F4A3F6222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F56E3B2-BD8E-42B9-B6DC-89F637F18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A18080A-2967-4D47-B566-C61D64D6C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EDDE63C-61C6-4B9B-B2C7-8C74FD74D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947C1CC-D12E-48C7-B64C-236FE3608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C04C0E1-4C05-4293-AC13-3C1E2D4C0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F193950-E107-415B-B00E-B217B58E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2B11EBE-5AE5-48CB-9CAB-DF6175CD0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5A5F167-516E-48EB-86E2-8D8EA1E2F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D5BEA19-BEE5-4E91-8A70-EA631DEDD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B9A2B53-1EBA-4382-A791-3CD691A94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2CE4430-6B21-44E7-BB42-007317208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78397E6-E58B-4446-8167-0DEEB7009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3ADC628-E781-4EB1-A1B2-EC0546E3B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CE8687B-9F50-49C9-A964-87068471D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2F92A5F-65F4-43B8-B5D8-1E8FAE58B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F55C36E-BDBD-4C5E-B8E4-87D786C25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46BB40C-40B9-40DB-A5DC-83DC08675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F6D5CF4-2600-45BE-924F-2D2AEA5C1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9957A68-0D63-4694-97AF-33FDFB143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BBEA6A0-F660-4919-91DF-9601A91DA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1596719-97D4-4B58-8760-E287552FC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B2B0788-19C5-4BEA-803C-43E2C87B8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EF2CE3E-DA52-4F0D-A110-BFCCCA60C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2DE1A52-721A-4E92-AAFE-12F3BFB29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35F1A91-7442-4B98-82F2-0E8D03452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8189599-4F10-49F1-BABF-2CE709A1D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0824095-ACDB-4B33-87FE-A448F8FB4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70AD5E4-24FC-442F-95F3-ED299BEC0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7927F81-522A-4BCA-887D-4B37A9860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2EE4AC9-F60E-4765-92DC-8856A8CD0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AA626A5-4E22-45CD-A49F-C591D517B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B551F20-A5AF-4BC3-BB66-7E938A236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AB61390-F572-4C68-BD1E-9A33652DD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563413E-CEF5-426A-9316-9002AAD79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8EF17B2-109E-4F4A-8A44-068BFE778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BE74220-8A2C-420A-AF6E-F4C32D1AB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AF420C9-F6B5-4274-99DB-9F3F81812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B7FA5F4-51A0-4153-947C-22A675A9F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9A1ABF4-0F93-4DAF-AE33-BCBA8BB5C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3E6EA4C-B4BC-4C38-9673-6324E1CD7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459D1ED-D5F9-4E61-9098-ED1708BDD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0D34F91-735D-41A0-980E-34ACE7874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ED6D53D-9415-4D65-AF7C-6D6520A2D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DB425EB-A98B-4202-86CD-75662E762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9EFA2EC-88BC-4178-80DA-7A20A9E59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76E4B37-9415-4326-B476-09EE48AD9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333A410-1F2E-44AE-B2A1-BE8DBA06C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06A0F99-3D8C-4A0A-8043-1909A2313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DCCFE87-9E9B-450D-B8DB-95D29242E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CBA871E-2D24-4E7E-9B9E-7642FA4D7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D8400DC-2C7C-4BE8-A5D6-A49FC6F03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02ABD50-DC33-497D-B4CE-21FC3A4FA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8AD87AF-AC98-4F47-818A-F30FADD0F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6</c:v>
                </c:pt>
              </c:numCache>
            </c:numRef>
          </c:xVal>
          <c:yVal>
            <c:numRef>
              <c:f>Sheet1!$B$2:$B$2</c:f>
              <c:numCache>
                <c:formatCode>General</c:formatCode>
                <c:ptCount val="1"/>
                <c:pt idx="0">
                  <c:v>0.3715</c:v>
                </c:pt>
              </c:numCache>
            </c:numRef>
          </c:yVal>
          <c:bubbleSize>
            <c:numRef>
              <c:f>Sheet1!$C$2:$C$2</c:f>
              <c:numCache>
                <c:formatCode>General</c:formatCode>
                <c:ptCount val="1"/>
                <c:pt idx="0">
                  <c:v>6680.84615384615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1F5863A-AC7E-42D9-88E6-6AD3FD218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84CD1D8-7406-4FC0-814E-EDBA3DA2D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503A45-016C-4154-BF39-F223589B1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F88EB7-6626-465A-B16C-252F12FAD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58CA3CE-E0C7-4762-B826-5E535F823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6C44725-3887-472A-A3F7-B2DFAD07C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5F4108B-0AE6-4269-9ABD-701EA1F7E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45CC968-D925-463A-B4CB-0F6D0DBBB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840F4BC-5E10-4C87-A05E-A65EEA7F0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07A2F18-21DF-4019-AA9A-46BAF9502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403EADB-A507-49D1-8A56-F9129E881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0F5989D-D355-4ABA-92CF-5A4380E56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2786146-9C0D-46C8-91E6-291E897FB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45F67EB-0F14-43B8-9639-F1CBADAC2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2590CDC-2736-44F1-A4F2-5F4DABC81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B1ADBF9-1282-4914-8E95-99856713E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D517BCD-AD65-48B9-A01A-DA3D5EEBE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5D2F4DD-1DF1-498E-8F7C-4C760A22D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034DC3B-D203-45C8-8497-D5B8BBDF2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9E76C0B-0202-424F-A7A5-5076CFFBA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BD294E2-9A73-4488-BF13-ACAD2AF91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1BAC606-549B-4EAD-AFF8-4F73FB5DC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1DFBE54-5287-4DDB-A343-D7890F919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BB7EFE8-77F3-4DFD-A590-2A1559E62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BA50037-DCB9-4FA6-867B-7231131D6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47C6E22-C620-4628-9FA4-44C803550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9A7B3AE-4E5F-4D81-B9F0-ED7B1341A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043E686-65E2-4C77-8050-C92E8B765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FA486B5-1022-4DE9-B982-7FAB07F7F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3CE9BB3-E36F-471C-A013-0264A532E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1D6AEA2-E785-4FAB-93BB-911B8D0D0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E30CBA7-BF43-475A-B35C-C623CDFB4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A725BF2-04C2-4F6C-88F7-537E09CA8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D3FF7E0-5630-4797-8189-556A63AB7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CE41462-8A16-4444-8C1D-27CCBC740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8E7101C-0B23-4789-845C-CCF9BBDFC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122DF14-3F5F-4491-9DC3-C1C45C3FC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324463A-C53D-48B0-996A-7A021446B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359A23B-CD44-4308-8EBA-F0762D91A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F75ED0B-8473-465D-8C37-A623AEF21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AE80FE3-7001-42FB-BB01-E26540D02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E538DC2-7CF3-43E6-AD07-2EF5839D0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96206BE-5260-4379-AEBD-EE5B86068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0534241-1AF1-4D13-99A7-E057B204D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A1FB9A3-F7A2-4318-97A1-6D14D4A85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3363074-DE05-4613-A2B4-DC0E65350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97915D6-F292-4AE1-9DC6-18A0BCA16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C73C51B-E885-4B78-A7B5-13660DACD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154B34F-AA00-4773-B860-3F4131723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4A326FF-2A47-42F5-A76E-C10B0D8E6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3C8934D-FB93-41F5-A339-432159EF3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1F5E84D-BBC9-40DE-8314-EF7E6D1D2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8263C88-1F7F-4D78-B3C1-9AF8592E0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C0BEFAB-BC18-4A15-8D14-E36B72C2E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6EA314C-84D7-4B20-820C-0F2C358E7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2CA3140-67E8-402F-B056-71E484E72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BB7F846-8C76-42D7-ACC7-61D9A9F49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26568.49350649350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B173AA3-DFA4-4004-B1E9-66F859008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D475CEC-4EB0-4F36-8B2E-E3C3AFFF2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07FB423-F392-4DD8-9E43-FE23BA00F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C0359A0-F6E4-4187-9209-FA7728D0B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CA71477-58A4-49DD-9144-F42FBA621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16F7A85-C4DB-4C9A-ACC6-EFAE85DC7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7B67191-D313-44B7-B13E-C8A4B49C4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5BE93DB-D161-41F4-B6E8-89B6BDD39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F3B3301-633A-4282-93E5-DF382CCB6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7B0B4F3-CDF6-4346-B271-7F4318E0B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3A7B693-A108-4EBD-90FF-EA995CFC8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FFB7628-81CF-43F4-9BBC-7339CB650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CFC6312-03C8-4034-B546-5EC624105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3242BFE-255F-4452-AE70-BBBA7DC50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2DF8B6F-E0FD-403F-8C41-50C0AAD5D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F02B572-3BF7-4DB6-A1A9-45B81C7FB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079A2C1-7E36-4996-A422-9D97E4640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26525DA-3A99-4748-BEF9-67D799845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CB8E929-F7AA-4AD5-9E66-DF6588CFD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899592C-1532-4349-9E74-E79DFD9A0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1B31439-4D49-4565-849A-87C30F696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E331BF9-4B02-43DE-80CF-0F7A66839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E57410A-5968-4243-905F-AF84A2196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DB2825C-80F6-4ABD-98D6-7B012CAA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D56918A-FD1C-4D21-A56B-A2B3AA5EF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F7C7DBB-E5F9-405B-910F-2A2D5EE5D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969D780-C964-40C1-95EA-8BB45BF30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FEB945D-C9EC-4CDB-87E1-D92E38C45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E71801A-356C-4637-91B6-DF7155925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6EC666B-08C0-4B8F-800A-256487513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619F3A1-274B-467B-858A-4403D75C3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F417ABE-38EE-4469-AA9A-26B81AEFF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EF9BFA5-0E7D-4621-B89E-70AC22210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425F23B-E57F-40B3-B880-2CECE97D8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134C7E6-4487-4151-A8F5-2D59628BD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39B1C64-3416-4F33-B2AB-9BE21D222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4A78EF4-4BA3-4298-A261-069F0C601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86C78D1-10CF-4237-98C7-CE3398FF9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9068A9B-9AB4-4447-AFB3-C148561A2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15686AC-D532-46C3-AD9C-0A803E876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0CAF6D4-5246-41C0-9320-3857D8B34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2FE191B-352F-4C8C-9EF6-E0999C779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147D0E8-DD63-475D-A764-BED4CF15C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1519E70-3F5C-4754-A4D5-751FFF863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BCA3B93-E91F-4CEE-BB61-66CC7FA4B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BC45BA8-083F-4523-A7D2-0D9549431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B62AC8D-001F-453D-A93E-6BD6C6CE4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6023074-A878-4A36-BFF0-988C6A908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DA12116-C84B-4B65-A5D1-85AE06A4B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9DE246C-34D5-4237-AFC8-C9F4B3C50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9E71019-2D7B-49FC-A57E-F22CC74A0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944A1E1-B2A8-4E28-989D-9C2711439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A854111-9C44-4640-9CF1-55747FF35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B0F1ECE-329E-4FA1-83BF-9663814DB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7CFA5AA-8987-4EEE-ACC7-F6A68A7E4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616FA86-EDC3-49D4-BB36-D5257A071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B1A16A1-F500-4526-88D8-8E9C02CF7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19</c:v>
                </c:pt>
              </c:numCache>
            </c:numRef>
          </c:xVal>
          <c:yVal>
            <c:numRef>
              <c:f>Sheet1!$B$2:$B$2</c:f>
              <c:numCache>
                <c:formatCode>General</c:formatCode>
                <c:ptCount val="1"/>
                <c:pt idx="0">
                  <c:v>0.5307</c:v>
                </c:pt>
              </c:numCache>
            </c:numRef>
          </c:yVal>
          <c:bubbleSize>
            <c:numRef>
              <c:f>Sheet1!$C$2:$C$2</c:f>
              <c:numCache>
                <c:formatCode>General</c:formatCode>
                <c:ptCount val="1"/>
                <c:pt idx="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AED677F-5766-4755-A69E-2697C0EE5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D408B5F-FBED-4996-B1A0-7EE3E500E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0C0215C-A526-46F0-A6F3-18106771F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67E0B84-9059-40E2-B729-083587F87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C031F5D-225B-4DFD-B2E6-6057AADBB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25C23E3-2C86-44F5-8A77-AD03639A1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31D34DF-7933-4A99-AFC4-1A4E8C4E1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D34F9ED-CE74-4BBE-BA81-05626392B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293</c:v>
                </c:pt>
                <c:pt idx="1">
                  <c:v>1.7663</c:v>
                </c:pt>
              </c:numCache>
            </c:numRef>
          </c:xVal>
          <c:yVal>
            <c:numRef>
              <c:f>Sheet1!$B$2:$B$3</c:f>
              <c:numCache>
                <c:formatCode>General</c:formatCode>
                <c:ptCount val="2"/>
                <c:pt idx="0">
                  <c:v>0.6528</c:v>
                </c:pt>
                <c:pt idx="1">
                  <c:v>0.6384</c:v>
                </c:pt>
              </c:numCache>
            </c:numRef>
          </c:yVal>
          <c:bubbleSize>
            <c:numRef>
              <c:f>Sheet1!$C$2:$C$3</c:f>
              <c:numCache>
                <c:formatCode>General</c:formatCode>
                <c:ptCount val="2"/>
                <c:pt idx="0">
                  <c:v>907060.762</c:v>
                </c:pt>
                <c:pt idx="1">
                  <c:v>558770.2105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1956"/>
          <c:min val="0.503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3107647592704"/>
        <c:crossBetween val="midCat"/>
      </c:valAx>
      <c:valAx>
        <c:axId val="1011451359"/>
        <c:scaling>
          <c:orientation val="minMax"/>
          <c:max val="1.1433600000000002"/>
          <c:min val="0.2707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2720865882611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1021691-8495-4703-BB92-B85A6216E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ABFD014-1634-4A7F-B6AA-2D2E24CC3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8BE365B-E01B-4410-A54D-7DB5C1DEE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220E10-6724-4114-9CA0-AD1ABBC27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EB3A04F-9B26-4F1C-AC66-740C2819A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6D7346B-BDF9-455E-B1A9-F94303778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6AC5DB3-349D-4A77-95BE-8D0D5F71A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3D9A94-F6A9-4495-899F-BFD65C377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6619C6F-DD43-4BCE-AF24-BA23DA537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3C05DDD-66BE-49CE-9F4F-3A162FE0E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64823E8-A1E6-460E-A0F6-4DD2CC9D5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69AF363-4C0C-4A5B-8A85-131AB0B18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7D051B2-6358-467E-9005-1F0BCBE2D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DC645FC-E1B9-4531-A06B-CE818DD00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3AC531E-A3B8-47E7-99A7-CC39A396B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5F6AE2D-4D82-4029-A07B-7823DF172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DF9C32F-72E6-411D-8C43-448E55AB6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0C4AF21-D71E-415B-ADBD-9F3BA6DAF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0077D28-B561-4169-B07C-2805ABBEC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A80DD86-E1F3-4156-B8DF-FF18E977B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E01D3C8-029F-4525-93CB-44C1D7742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4DD0886-4A4B-4879-9E7F-5B43768EA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6EB4E2E-D20F-4973-A6C1-F715E9D33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CE3F99C-DDFE-4CAD-BB93-B5A3CC8E2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E9658CE-84D0-4245-B84C-32A7218D4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2581CC9-1AB9-417F-B4C4-6A31F3CBF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52BA7B1-4B19-4D3F-B805-0AC51FCFD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2438C30-4628-4C9C-9FB1-152FBD18A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595C4DA-FA10-440E-A82C-C3EF84345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CFB870E-496A-446D-9A13-9D3F72E0D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81A1B26-B117-46E9-AC97-13E4BB9E6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DE58F34-4228-4DAF-8E17-65D5FDDF4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B6344D6-A6AA-4D36-AFB6-DB5191906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E0B84E5-CD34-403A-935C-39C78A155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D43865E-53B2-4A35-A77D-5B4BD8388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3E1446E-4D17-4ABD-91DC-19962A353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2521148-14F3-4DBF-9ACB-468B975A8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14A3D66-2915-4432-A9A6-1330F18A4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381EA9D-2850-4086-8498-C6E2CDA17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54C549B-F70F-4320-94CA-3CF845DE8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6EEEC83-F428-4E8D-97E7-433AB46D1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1DB5E96-607D-4A1E-B025-9193A4915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5CE5B95-EDA9-44D5-8A22-375EB3F94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D94C619-BD3B-4393-9EBD-1A6BE8908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EFE24C1-E36D-431E-B251-419F8FF39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8897F33-B0AA-4FDC-9B9C-BCA02D352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2C76584-6320-4310-8A2A-EA058E52A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EA2FBA0-66C7-49D1-B7CF-39B0298EF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109FBDC-46DD-4927-9FEE-C4553F959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592A029-456B-441F-8F2C-CCF9095B6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549BA8D-0F81-400E-A8E8-F3ADB9416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CB870A8-1914-4D90-99EC-87A48FE51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0688FF9-69DC-4F33-9405-03EA35DBF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3CFA14B-E909-4C47-B101-AEABC552B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461121C-5E02-4BC8-B7B0-8BF33C457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7C05546-9D1B-4CCB-831D-67D39D5B7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0221F69-EFD7-4D61-80E0-3756E5F33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8</c:v>
                </c:pt>
              </c:numCache>
            </c:numRef>
          </c:xVal>
          <c:yVal>
            <c:numRef>
              <c:f>Sheet1!$B$2:$B$2</c:f>
              <c:numCache>
                <c:formatCode>General</c:formatCode>
                <c:ptCount val="1"/>
                <c:pt idx="0">
                  <c:v>0.4199</c:v>
                </c:pt>
              </c:numCache>
            </c:numRef>
          </c:yVal>
          <c:bubbleSize>
            <c:numRef>
              <c:f>Sheet1!$C$2:$C$2</c:f>
              <c:numCache>
                <c:formatCode>General</c:formatCode>
                <c:ptCount val="1"/>
                <c:pt idx="0">
                  <c:v>3302.69811320754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7B6263C-C46F-4051-ACAE-2575A8CFB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EC7D289-E53C-401E-9847-631204120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99BBB01-448C-48F1-A0E5-7C9417AD1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A8972A-619F-40B9-A695-92286B801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A939A8F-8B16-47B5-9F99-0703765AA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03E7B4B-8F51-4433-A3C3-37B74BBE0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8EC6CEB-871C-49D0-B663-9C12FF7AF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28914E5-8064-416A-B8B4-225BD0441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740FBA2-B26E-4CF7-985B-332EE4595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43507A2-96A4-4AE3-AEE1-74890E3A8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C01AFD7-2DF5-4C69-8D89-582DDED81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1061AD5-593D-43E3-9301-747D06C05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990CA1C-C2EF-432F-A7E9-520D418DF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55D4A8B-4162-4398-B62A-82C5D3756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A578AB7-D1B6-4DBF-BDC9-6E5638274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C0140B5-6ECD-48CA-AF9E-E5BF327D4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266C891-8F0E-458C-B141-3D36D27D3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3B141B3-AB02-4926-9DE0-31934B59E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DC1C7D5-AA46-4B54-A046-30413BB9D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18E5BEC-64E6-4B11-BE83-F85795046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D70DF2B-B96B-40A2-A845-ECB8EEE20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725D7D7-4F52-430E-B6F9-B9CC4F58D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94E9639-BCA1-4741-84E8-4889A3AB4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A4D2C5C-DBAD-490B-A12F-F816E6331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B45FD5C-2D95-4EBB-A91D-8CBB0609B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F962AFD-ECAA-48F9-9220-0B9971E43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F1C719F-6D70-42DE-9A8F-657D35AD8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0CB9425-74B0-437B-81EF-B9B6F13E5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252FFA6-E851-42F1-AF3E-D4F3646A9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5FB709F-6367-49E6-881E-BDE494391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F520442-8240-45B0-BBA7-6835CD9ED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58DE24B-F9B9-4AE5-B789-754BF668F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D9E9325-50DF-4DB2-A178-B0FA7534B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75F630D-3B17-479D-B974-E8CAA88C8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719CDD7-71A4-4BA8-9607-05C0EE200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C5EA212-62B4-4197-912F-6FEFCBC61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C75817F-C21F-43DC-90A7-93939FC92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A1ECB6E-FFD3-46C8-B8AD-1807F1F91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BF4B3B8-EB1A-4B23-8B0D-AB0655FDD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B549AE2-AD9D-4074-AEF8-9697884AB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9C56D4C-ACC4-45A8-816D-86C3E79E6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716D2EC-6112-4853-BA84-236E2CEAD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BB30415-B894-4E25-94A4-001C03DDE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5ADAD2C-919E-49F0-BC86-4E44C4D62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F538AE1-10B8-4380-9D3B-764BB1940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25B888D-5AED-40FF-9EC1-B8DBDDFBB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6CC6513-DA33-4DE1-A48B-4C6A95C49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F68E363-ECD6-496B-90EB-6E2DBCFC1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EEA46E4-14C4-484D-838A-5B2C9E210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F9CF61A-8AEB-486E-95F8-D6A9218F4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425E956-71A7-4FC5-8E95-99002C885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2281B29-2637-4B98-9F0B-C90B41895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EBB23D3-2373-4D79-8440-3FB139C87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3FD6846-910D-4717-BE92-D1335BEFE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6CC02F2-09E5-433D-8AE9-914410471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B8D97D3-ADED-46EC-80FA-6392A664F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EAF4D07-8DBD-464C-B961-9B32E2285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831</c:v>
                </c:pt>
                <c:pt idx="1">
                  <c:v>0.223</c:v>
                </c:pt>
                <c:pt idx="2">
                  <c:v>0.3675</c:v>
                </c:pt>
                <c:pt idx="3">
                  <c:v>0.3918</c:v>
                </c:pt>
              </c:numCache>
            </c:numRef>
          </c:xVal>
          <c:yVal>
            <c:numRef>
              <c:f>Sheet1!$B$2:$B$5</c:f>
              <c:numCache>
                <c:formatCode>General</c:formatCode>
                <c:ptCount val="4"/>
                <c:pt idx="0">
                  <c:v>0.6078</c:v>
                </c:pt>
                <c:pt idx="1">
                  <c:v>0.2544</c:v>
                </c:pt>
                <c:pt idx="2">
                  <c:v>0.6037</c:v>
                </c:pt>
                <c:pt idx="3">
                  <c:v>0.5305</c:v>
                </c:pt>
              </c:numCache>
            </c:numRef>
          </c:yVal>
          <c:bubbleSize>
            <c:numRef>
              <c:f>Sheet1!$C$2:$C$5</c:f>
              <c:numCache>
                <c:formatCode>General</c:formatCode>
                <c:ptCount val="4"/>
                <c:pt idx="0">
                  <c:v>1754.0</c:v>
                </c:pt>
                <c:pt idx="1">
                  <c:v>17159.559193954658</c:v>
                </c:pt>
                <c:pt idx="2">
                  <c:v>21416.964285714283</c:v>
                </c:pt>
                <c:pt idx="3">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A9E0B6B-7238-4075-89F8-23DF4D8F3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DEAC39F-53CA-4BBA-B184-54C8E9F5E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33893A0-8D59-4890-B806-0FF753698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9B14556-DCBA-42E9-A2CD-8A7964C5C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AA0FD12-59D0-443F-95AB-F28EE452A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B2D689E-FFA7-4132-97C2-0E71585C7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A07AA7A-C6D3-4BED-BCF5-2C4DCEEB0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F88AD0C-EF09-4099-9815-8417801FE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E02C92B-9951-4B5F-978D-645E21A38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21233E5-463D-4E17-9CF4-D210F85FC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B365137-DE92-4740-99DD-44B94E02B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0B48908-C8B1-4285-99A5-559563540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981040D-88C1-4ECE-8A3D-BC99B872A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04745AA-36E2-447D-8BF9-20F69B9B4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77E8852-16D7-4EF5-BD57-8618EF02A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8B28653-D696-45D4-89ED-2A8899351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47EB2A4-2644-407B-BDF9-F90E2D797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57C3184-0DBF-4BA3-B99E-D78ACD7BE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ED3F6E6-3D03-4115-A773-CBDF04549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954F692-897B-426E-92B1-F07036DE0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A062C24-D798-4B1E-B252-512965E23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061BCD6-B620-4FD0-B51A-44773CEAA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07C1150-2C6C-4E14-9CA6-8A4858EB1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2F1BE04-8B8D-4346-B130-5DF408931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89010AB-8C47-455A-9278-28784FACF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1908FF4-E12F-45DE-8787-FEFF04C26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471C10F-2022-4A9B-9A7B-E87C78EA4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11A71D8-0040-41A0-B251-E2515B091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C41D5A6-9AF5-43FF-9CD4-566D9EEF7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B8C11A9-36DE-4A11-88D0-079CADE71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779C7CE-4AA7-4255-85C7-9820513C9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C0175B8-3542-4BEF-AB9F-36014BD8A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9229D2B-D0AE-48B7-BBC8-265AD9AA6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83C4632-F55F-46B0-8419-AE07560A5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2D736FE-B645-494D-BCDF-D137F62E6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93BC302-AF64-4E23-AB30-03EB09AB0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F654E55-9124-40A2-9BF8-ECD368687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9350DE0-CF3D-495C-A587-A0C390521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D8BA247-76C6-4AE7-AD60-FD6BA8A66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F995E60-DE17-4068-9B0D-5045E0E57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734A088-0813-402F-8E9E-C7E5C8992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685CA8D-44A3-4C19-B146-50692A9C4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02FB25F-ABD4-40C1-AB37-92A0EBC0A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DDBBCCD-64CB-4AE1-AB9B-69030E692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09043BD-FEB5-4CDB-9BEC-AEBC42EA3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8E0FB3A-9FFE-4959-94F9-C525CA33A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BFD6140-3819-407D-ABDD-A1716209D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8BC56E4-19B0-4F13-B5F2-A2334F89C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5B5C66D-D1C0-4717-8FB1-10AB1CEA4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E6C6C96-1BA5-4668-B609-0547E33D9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BEAC832-3A44-416F-87B7-018F75631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5AA0AE4-2093-444A-815F-A6ACF8A25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0816982-DD79-4F77-99F8-B0D9CA7F1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E859827-63CD-4D19-A351-0462BD9C0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BB59475-231E-47DD-BD30-8EDFDCDF0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1AF1E30-C393-41B8-82EA-3044D0B35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33AF982-70BE-467D-81E2-308A7729B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8</c:v>
                </c:pt>
              </c:numCache>
            </c:numRef>
          </c:xVal>
          <c:yVal>
            <c:numRef>
              <c:f>Sheet1!$B$2:$B$2</c:f>
              <c:numCache>
                <c:formatCode>General</c:formatCode>
                <c:ptCount val="1"/>
                <c:pt idx="0">
                  <c:v>0.3715</c:v>
                </c:pt>
              </c:numCache>
            </c:numRef>
          </c:yVal>
          <c:bubbleSize>
            <c:numRef>
              <c:f>Sheet1!$C$2:$C$2</c:f>
              <c:numCache>
                <c:formatCode>General</c:formatCode>
                <c:ptCount val="1"/>
                <c:pt idx="0">
                  <c:v>7625.12820512820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E394E24-ACFA-4EAD-A656-95841D72E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7D7D259-B5B9-42EC-A399-0BCB7E01E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08B32EE-0C62-4D3B-9F1D-4D4396E78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AF3066D-E5B7-4025-A980-E2C56568B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C2AF715-1929-4281-8C7F-2208F94E5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F74F2C1-8765-4E40-97DF-EC6E593B3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7E9EFFB-A22E-485F-AE59-73FA566BC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59BDD3F-0E2F-4F3D-B54B-0D69DDCEA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10A45B-B536-46FE-8900-644A9FE50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2A39D71-4121-4E67-8C9D-75A84E174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C2F8FE1-EB8E-428A-9F60-CD36A9063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992A10-4711-44C0-BD1E-AA1E784E5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F711474-4F1A-4D58-9B31-B0F8392DA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64014DA-BBAE-4550-9038-0B2DEAA22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D5D1D3F-6A16-4E1C-9B97-10D139160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20BE475-0142-4B92-846E-555CD7DEE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5D972AB-386D-427B-9037-459ACE8BA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2BF3BAC-3906-47CC-9E2A-674F122DD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DD78A09-32D7-4E7E-9860-D65335E89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A55BA27-7617-4C16-840A-10883D392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AB60A1F-96B6-479A-B9E0-293F175C7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07126BB-F739-4DE6-A1D6-F272F1170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86613D6-631C-4ECF-9537-2E24F0A80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A8E7CF4-6420-474F-909D-E592BEF34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E704F80-73BE-435E-98DA-45BBF3963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C9E690E-BAA8-4196-A1F3-AC05AE146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7C5FB3A-78E8-4E73-8A9B-B4BCDE742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B89B528-7FE5-4124-B6E4-CEA92BF22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6360A58-4EC4-42F3-B22F-DC94C74B2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CEE3335-B4B3-438E-8D8B-732F3550A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608EC6D-1D81-441E-B03D-69751B8DF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8FFC622-8D35-4054-97BF-BD2AC5E88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044C9C5-B278-4790-81DD-2E7286571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A9F2D2A-0FEE-487A-8F13-3E7404F77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3E8F63A-FA61-4135-9E5F-A2A2BB8D7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51663A3-9492-42DC-A70A-2C2336DBC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D0E31A0-08E6-4687-985F-F8E2F9656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C5C4F43-E70D-4CED-8116-52FA56C91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3901621-5531-4904-835F-7D972742A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94A2914-F928-447E-8728-2E93BCB2A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0D6A827-CCC5-4124-A538-3AA6F301B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037ABCD-7591-4A8E-87D1-FCD4E3F95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05C1642-8E9D-412E-8D0A-235F0A362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2F7CF80-A1B3-43EA-9D2A-5CD46A204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143DDA8-7637-452D-9C48-7E8338A8B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C5165E9-C41D-4BDA-AA9C-5523BF93D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206B5B8-A675-4973-8104-625598228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78E74EF-7BD0-42A6-8984-6DEA7BD70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BABB880-FCEB-46DB-B6E0-F3B5AE2B0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0B1C8BD-EC50-4EEC-A6E0-11643AA20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FB43984-0B0A-473C-B119-151FD97B7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66BF564-7428-4AAD-A55F-8EF0CC45D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C534DD0-6A4A-425B-B127-FE8B0C5D4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869180F-C1FC-456D-812B-1C86F92CF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D04E523-397B-4408-80C5-701E4A6D6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A814C3A-576C-40A9-8224-21FDCDEAA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1D6A9AF-726B-4980-89BF-71E150424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31615.11318242343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B4D6977-3A33-4551-AF07-B2BEB28A0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59A80CE-7882-4B4E-B2B6-03E1BB5C4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C16BA89-D2E8-42CB-8FDE-99199EA20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C92515E-BDA3-4FAB-B200-CBC342C65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BA26975-566D-4223-AC4D-0169BF9FE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C9133BD-CC0B-4C2B-BF21-CC2360B80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D387D12-3E5F-4039-BBD4-D7A0C9ED1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C501F80-CE79-42E1-B15A-C86063E52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28036B8-1050-4073-A492-C68695ACC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E4D3F7D-749D-4A11-8F1E-B486CF25C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F88D2A9-E163-4762-8DA1-40E948214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B82B6D7-8C37-48C7-9CEB-B8877FE87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75D97D0-1D3D-4375-AE1B-B404B2C9D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60B1E62-A01B-43D6-9AA4-F07B96A44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5C95C59-0406-413F-8A3C-2B83C971A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93587F5-0E71-4FFA-9296-B2B2E8F41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8B5E4FD-3430-40DA-BF47-1B41E1178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0ECBBEF-9631-40E7-BEFB-10B26BF3C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3F206FA-0993-4988-BEA9-6A3AD97BE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79B3483-E40B-43DE-97EC-CA5111F7F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818C221-5966-4F4E-B8D7-7BE1C836D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C97324B-369E-4DB1-AC9C-4771BC571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DC2879C-0B09-4965-81E5-7DEEF0C46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C50A3B4-E5FE-4687-8C68-1BCB5896B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0179562-BB55-4E0B-8598-C19AA68C1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C50127A-FC49-4A14-8FF1-99A67D251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E886341-3CD7-42ED-A121-4F78799B8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12FBB9C-DBC3-4F0B-8527-64888A79E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6416E73-7F2D-470C-8268-D5F2FE9DA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A053990-EB8D-4815-B21E-B698C97F3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2A24507-0C0E-4822-9254-F43F43112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9B16EC5-D6E1-4B54-AE27-C85A627B5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030712D-BD66-4D80-8912-4212F5A23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961CE8D-231D-4568-8CDE-83768A6A2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DFF8942-6A6E-4569-B388-57F0C1B18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C0CD578-433E-4220-B97C-AE4C5F862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3D88005-050F-4A89-9994-6EA10C04C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954F08C-900F-43DC-BE5E-989494287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873E333-C519-40A3-A00B-CA848A2EB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7D779B3-DD22-4292-92B8-1ACD5A05B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4EA0199-A356-4E86-8082-A6E410A0B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5F64A45-D261-4EA3-AF35-E52383EF3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8AA3DCE-11FA-43B7-B64E-1D755668E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6F17D4E-1FCC-4676-8E7A-50AD8BE32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D51D534-486A-49F8-B516-D51C81C25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33EB5C6-44B3-4763-8D1D-255724142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4397B18-619B-4CAD-9A2B-D542EF19E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1C716C4-B839-4852-AE85-60F4E6578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F36C77B-0676-40C6-9E16-FFCFE75E6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8A97C6B-6B1D-4C83-A14E-773DA2928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0049A7D-4922-4E6D-AE0F-8D51D87AE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1FF4AC5-653B-4E67-9431-2BA970672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AE7FB9A-3FFC-442A-85CF-6D2DE1DC5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00C3C47-C22B-4508-8813-4908B0131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6B97F1E-6B7E-4309-9F74-BDFF15A21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113D6AE-592B-4328-83F2-09F177D84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246697A-4930-472C-9F6B-191FA27CA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1.6975</c:v>
                </c:pt>
                <c:pt idx="1">
                  <c:v>0.2203</c:v>
                </c:pt>
                <c:pt idx="2">
                  <c:v>0.2809</c:v>
                </c:pt>
                <c:pt idx="3">
                  <c:v>-0.6721</c:v>
                </c:pt>
                <c:pt idx="4">
                  <c:v>0.321</c:v>
                </c:pt>
              </c:numCache>
            </c:numRef>
          </c:xVal>
          <c:yVal>
            <c:numRef>
              <c:f>Sheet1!$B$2:$B$6</c:f>
              <c:numCache>
                <c:formatCode>General</c:formatCode>
                <c:ptCount val="5"/>
                <c:pt idx="0">
                  <c:v>0.797</c:v>
                </c:pt>
                <c:pt idx="1">
                  <c:v>0.6948</c:v>
                </c:pt>
                <c:pt idx="2">
                  <c:v>0.7271</c:v>
                </c:pt>
                <c:pt idx="3">
                  <c:v>0.7947</c:v>
                </c:pt>
                <c:pt idx="4">
                  <c:v>0.6903</c:v>
                </c:pt>
              </c:numCache>
            </c:numRef>
          </c:yVal>
          <c:bubbleSize>
            <c:numRef>
              <c:f>Sheet1!$C$2:$C$6</c:f>
              <c:numCache>
                <c:formatCode>General</c:formatCode>
                <c:ptCount val="5"/>
                <c:pt idx="0">
                  <c:v>897.7777777777778</c:v>
                </c:pt>
                <c:pt idx="1">
                  <c:v>75823.49665924277</c:v>
                </c:pt>
                <c:pt idx="2">
                  <c:v>21518.936170212764</c:v>
                </c:pt>
                <c:pt idx="3">
                  <c:v>5644.0</c:v>
                </c:pt>
                <c:pt idx="4">
                  <c:v>68443.0063694267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09CD85F-F21E-4333-869F-01879EFCE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1CF4886-8029-41D9-94BF-CEE2F19A5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2B93AC7-A4EA-4274-8537-5B9806663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80E448-B228-4401-855F-ED4E19D49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10603B7-C5A1-4E74-A7C6-F5A96D116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EDE4361-2188-40C4-B60C-A4D3D7560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D367220-08CE-4BC6-B9D0-60F68A673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8BFA929-B4AD-4DB0-9692-67005DB2E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33825EA-300F-4399-8857-C182FDC1C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4A4006A-C341-4890-AFAA-3FE30071C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F32B734-0167-422F-ABE0-788D8A8A9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531DFB7-78BD-40F4-BD44-52EBFCE9A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A8E29B7-5AF6-4522-B03D-DB587AAFC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E009958-C087-4788-88DB-F91034ABB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2A94D25-66D3-4686-9C11-C407BD78F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8F48621-8567-405F-946F-953CF2520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67EF538-5653-4305-AC0F-E38715AEB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9E43DF0-02F0-436A-9E3F-056426D01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5751E70-EBB4-43DD-BA62-BF6A37CEB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9491273-E345-4E89-BD3E-95A1DE17C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4BA5A3C-A784-4A3C-BCEB-CF1576CDF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061248B-BDE8-4A19-8A33-132242A22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D27F8CD-19F3-427F-8622-6A3700D67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554E8D2-03E8-4BC6-B135-376AB3378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0990B27-C3A1-4D81-9EBE-0E997E037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A4160CD-97EB-4B9B-A328-23D89825D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0FBF849-3E0B-4F2E-A755-4F17E057C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19DD458-4A8F-45B1-95A6-14CF2574E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1A6F1A8-5DE6-4F70-B4E5-4E8ECA597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B9DF4C4-F8C4-4804-8DC7-B238A840B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A01F17E-1995-4E90-84FB-AF1EA5937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916ABF5-CBA6-495C-B3F2-CABE8DB53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6B48BB3-DF41-45FB-93F3-3D6C32E36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E9617F7-8C42-4B9C-AF9A-84AFD4725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0DD0A75-2E64-4547-B476-FD69C990D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0C58AD1-09FB-4973-8085-88FB7ACCD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4AAD55E-3C21-4481-970A-B210364B4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50A57BA-285F-4995-8955-27B8F0E6B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07FD1ED-7B97-4E2D-8DE9-9278E1A61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FC1158D-6F8C-4C4D-B947-39B5E0689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9089E22-B5CA-4462-9610-55BAE5483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B0469D6-EC69-42A9-A7BD-945AB5039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562DFA5-7B09-4FCE-A47A-89F831156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075FA9F-9A13-4F04-BCE9-2C0FCD35D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37A4B90-12A9-4E7B-BC52-3E590E749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368F5C1-ACF3-4928-BF86-8974DF51C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428FF4F-D717-432F-900D-241965F53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0208ACE-7ECC-493D-BCC1-8DECBD427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8A3F795-1EC2-4F6B-B12C-5C062D273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F1C1A34-C254-4CAB-8E1C-1D0439E38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982028A-A384-481D-A2D8-0FD3B1C59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98024AF-643B-4D77-B016-4A1C7C2EC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12FAB95-250B-4369-952F-DB60204E6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1E164E7-DF4C-431D-A628-1588B2461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8881F4E-C23B-46B6-B002-D4663BE0F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F730BB8-F227-4071-A866-A519EF812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0668055-9993-48FD-B152-6290C8E6B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56</c:v>
                </c:pt>
              </c:numCache>
            </c:numRef>
          </c:xVal>
          <c:yVal>
            <c:numRef>
              <c:f>Sheet1!$B$2:$B$2</c:f>
              <c:numCache>
                <c:formatCode>General</c:formatCode>
                <c:ptCount val="1"/>
                <c:pt idx="0">
                  <c:v>0.7136</c:v>
                </c:pt>
              </c:numCache>
            </c:numRef>
          </c:yVal>
          <c:bubbleSize>
            <c:numRef>
              <c:f>Sheet1!$C$2:$C$2</c:f>
              <c:numCache>
                <c:formatCode>General</c:formatCode>
                <c:ptCount val="1"/>
                <c:pt idx="0">
                  <c:v>6750.31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E78975A-75FA-4FA4-BCD8-D3AF5BE77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018D946-931A-4EA6-A36A-478148142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D0E6DB-C074-4C33-BAAC-9AADF187F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8088A4C-72C8-4E9C-972D-F0725B509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7AD3467-F680-4318-9CA0-7C4FA88BD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F57A46A-CF8C-4513-B046-A4938C0A8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B15E92B-F8E3-4D83-8D4D-CA3C6B740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BAE0A8B-DBE4-44A3-892E-FF92EAA56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0D47839-3053-4E5C-854E-A2BD45F84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A7F0604-119B-49B5-BC07-F4A52D037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82A2C34-CA5B-40D9-82C4-DB3AC08AC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ADAA942-1B14-4586-AED8-C20A13634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9B09897-312A-472C-9926-BC3D34156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B1A0B7B-13B8-4C41-9FE6-C44FDF651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8AEE718-44E5-4A7F-A17F-AB80CD33F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B2DC82A-87B6-49A0-83A4-D0FAADDAA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3654BC4-1915-4E28-9181-890FC98E3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EFF99B2-6009-4708-84AD-B86B52EDE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0CC60D3-3B97-4714-A268-2EA207618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9B68322-0231-41F6-AC00-B1B88727D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A3A4068-39B9-48A1-96B6-34A6E683A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700E1E9-1FE2-4809-A2E5-190FEB698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AF2ECD4-486D-4FBF-B427-EAABD28E7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93B7E3B-27E4-4E9C-9E0A-8BE841AEE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EF64E80-AD17-4E3B-882E-2118E265E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FBC53D7-A56D-4AA6-9014-B96CB078D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593639C-78A8-448D-9411-3F1B1E7FA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7ABE81E-19AC-4FDB-99C9-89AC7DBBA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33B97C8-56A6-4ABF-AE62-971C1E345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40C3978-046B-4FC7-83E7-79CF4C331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61E55BC-6DBC-4561-9B21-F25D6C7C5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2F35555-6AD7-4C2A-9163-BC73FE362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892B6F1-2F2B-4375-B524-42C93C232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E96B914-0327-4FC6-8C63-27312CBD4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82C5390-16EE-487C-B7E1-5B92FF292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C5A3CBD-1784-4D98-B708-BE713EFD6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EEC0782-536F-41A6-A8F3-EF397F2C2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7B88ADA-3125-46E7-9158-A9C0F49BE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DF91C27-1D77-4DF4-9271-DFF2ACF30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D24403E-B88D-4AB4-BA1F-DB8C46328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1775F6B-2046-4F5D-804A-C24D24202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F807983-69D8-456A-B4EE-BDF58E6F1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8D20995-A9EB-4972-B594-977E0CFD2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513B078-6191-4FBC-A691-EDB9EA839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8D4AF16-393B-41D8-872F-23D494EAE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67683B5-4274-4406-9F95-B87450737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26F1AE2-3BFD-49B5-A3C1-B1984F3EF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26CAC0B-D446-4D03-BE84-5A3E93CC0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FACDAA9-25B4-4A0A-A5BB-5FFC3132D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19DDF8B-C164-42C9-AAAA-DE8A57172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7B1FF3E-5041-4B9B-9E7B-E0FE5C8C6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7711444-F663-4329-946C-E98B1EE72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46AAC2B-0B12-4803-86AC-246B2145F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922F778-E4EA-4631-9F2D-2C8CEB22D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E98EAF0-0FD8-4D5F-84A8-EEC2CE37B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A92E5C1-99C9-44A4-9C8D-F370AE54C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F4B9B59-AEBF-455F-98B3-64AA99FA3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051</c:v>
                </c:pt>
                <c:pt idx="1">
                  <c:v>0.3987</c:v>
                </c:pt>
                <c:pt idx="2">
                  <c:v>0.4029</c:v>
                </c:pt>
                <c:pt idx="3">
                  <c:v>0.43</c:v>
                </c:pt>
              </c:numCache>
            </c:numRef>
          </c:xVal>
          <c:yVal>
            <c:numRef>
              <c:f>Sheet1!$B$2:$B$5</c:f>
              <c:numCache>
                <c:formatCode>General</c:formatCode>
                <c:ptCount val="4"/>
                <c:pt idx="0">
                  <c:v>0.7386</c:v>
                </c:pt>
                <c:pt idx="1">
                  <c:v>0.6837</c:v>
                </c:pt>
                <c:pt idx="2">
                  <c:v>0.7091</c:v>
                </c:pt>
                <c:pt idx="3">
                  <c:v>0.7317</c:v>
                </c:pt>
              </c:numCache>
            </c:numRef>
          </c:yVal>
          <c:bubbleSize>
            <c:numRef>
              <c:f>Sheet1!$C$2:$C$5</c:f>
              <c:numCache>
                <c:formatCode>General</c:formatCode>
                <c:ptCount val="4"/>
                <c:pt idx="0">
                  <c:v>779.0</c:v>
                </c:pt>
                <c:pt idx="1">
                  <c:v>10233.439767779391</c:v>
                </c:pt>
                <c:pt idx="2">
                  <c:v>38536.181506849316</c:v>
                </c:pt>
                <c:pt idx="3">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E5C2F3E-BDE1-45B0-872E-CF4C24693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C77C705-0565-4FD9-B70D-558B6B7D6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D3B294E-2BE1-43A3-A611-B38C21213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AAB0156-F2BD-494F-8B6F-9A25FBD84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FB6ABAA-D76D-410A-8BAF-993C63668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CB6E796-D86B-4F36-8AFC-5F70C8BC4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C4B04D5-A529-461F-9C9F-2038C907C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BB131CE-5027-479E-B514-5A9FF8BBA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8C2EAF8-B6CD-4BDA-94A5-A102B0C2A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A1AE2A9-F8C6-4E76-888C-28C15E1C5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56D8AA4-9175-4935-83F5-7872A1811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B01ADEB-EB64-4FAE-BB25-8A4F93789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D6E79A5-1284-4245-A695-5A91A610E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6646AD1-66BC-48CC-BFC1-1A5405CA6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90289C1-3E7E-4E42-8D38-6A9FD30F8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CE6F12C-0E89-4AE4-A70E-335D3B84E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37E0E8D-5C81-41D6-8603-B2F765DDE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97D1027-4E3B-4C0A-B305-2EE7A9DD1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D505C42-7614-41A3-B1F2-B559A52FD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36EDC08-FA23-45CF-B64A-EC4403BE0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6545797-A7B7-4FCD-96AD-F5A63638B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2FF9320-6034-42BE-91E8-61B1F7CBD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7DFCF28-AD2D-4E9D-A0D4-5A9D1DCD1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A3740D3-B41A-4A34-AC0A-69D245B8E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157D4C9-BD4D-482A-B458-4653F34AA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B554007-C772-4722-8F0D-080015383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C86E5B4-D5D2-4EF6-9A68-CEC3CDC8B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3B214A8-6AB3-4ADA-A8A1-8A93C3BC2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9DFD1B8-FCD1-40B0-9C07-7CE66269F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9DBA5C4-0C06-4404-9DDC-21089AEFC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D9304B5-62EC-4FE5-ADB4-5D644EDE3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5225783-D5DC-49B3-A687-AF307A10B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84E97D6-0DC7-422F-A8F2-DCA8CF581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BEB5109-4583-4E63-B93E-3493E95AA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C791E3B-F824-4DC4-97FA-37A0DD553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AD6C72A-E777-4EA2-805E-99B9548AB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3336C1C-A1BA-4D07-95D3-27F4D26D3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760F8A2-DB04-4680-99C0-492347B43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48976B4-0427-423B-A464-F4DB333DE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7288E4E-CAFC-4CD4-91EF-7D31B1834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70A723F-67D6-48C7-8F83-98D9E19A4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0523E8C-91B7-4419-9663-9C62E638A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03AB546-CF5C-48BE-82ED-7ADFB811A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B66168C-0639-4514-B39D-212EB2467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19774C8-E7D2-4F5B-A81B-551A54A5B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173F6B3-00DF-4129-9AF4-16B3C6F87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C578C85-2261-489E-AD43-2B4B0461B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DA0E0E9-C12D-408C-B340-C1D54888E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8B3024E-DF78-4C35-9A37-63C95340A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47D549F-3447-4F16-9D8A-F80C041D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13C7FF8-D84F-44A1-A53B-F0856FB25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9FC20D1-5DF3-41AF-8A1D-7DE51AF90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E04B938-AAFB-4B3D-AA5F-4420BCEE4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B8DBE77-52DA-415C-8827-35B8511C8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4A556FE-62C6-40EE-AC50-A32E6D98D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12A0175-B2EA-4C78-835B-475FAE694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326DCE2-28A4-437F-B0DD-F641AA310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194</c:v>
                </c:pt>
                <c:pt idx="1">
                  <c:v>0.2027</c:v>
                </c:pt>
                <c:pt idx="2">
                  <c:v>0.3207</c:v>
                </c:pt>
              </c:numCache>
            </c:numRef>
          </c:xVal>
          <c:yVal>
            <c:numRef>
              <c:f>Sheet1!$B$2:$B$4</c:f>
              <c:numCache>
                <c:formatCode>General</c:formatCode>
                <c:ptCount val="3"/>
                <c:pt idx="0">
                  <c:v>0.695</c:v>
                </c:pt>
                <c:pt idx="1">
                  <c:v>0.7269</c:v>
                </c:pt>
                <c:pt idx="2">
                  <c:v>0.6906</c:v>
                </c:pt>
              </c:numCache>
            </c:numRef>
          </c:yVal>
          <c:bubbleSize>
            <c:numRef>
              <c:f>Sheet1!$C$2:$C$4</c:f>
              <c:numCache>
                <c:formatCode>General</c:formatCode>
                <c:ptCount val="3"/>
                <c:pt idx="0">
                  <c:v>5275.419354838709</c:v>
                </c:pt>
                <c:pt idx="1">
                  <c:v>1055.75</c:v>
                </c:pt>
                <c:pt idx="2">
                  <c:v>4560.02531645569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5F2BC45-0B93-4369-8BDA-1987EEA33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C80B438-DE88-4667-8C05-E77907326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1A884CF-CC79-4DEE-BEB5-3EA692E49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5A48C2E-2D9B-4FAF-AC6B-1610CDBE8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5A0DF8E-BB1B-449F-9237-5527B306D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6F5E589-D8A6-41D0-9B2F-4DD485700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32F9023-9C1C-4512-9F5D-8B8D1FE48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F6CB857-FF16-479E-882F-E427D31BD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3DE8BE9-EDCB-4DE9-8C32-618C0D851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D831342-6E25-4119-A924-ADF362B67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039F3C6-2FF7-407A-8A33-A7F68C127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13C83ED-45CB-43AA-91B2-0DC7CD872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20D6930-95C4-4DB1-A1BC-CD7C3F0B8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2EEE60E-769E-45F0-AA47-856B5EF01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59400D2-2892-4CCE-A05C-9B56025D3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7196377-0843-406A-B515-F983955BD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EA2E647-5069-4875-96C6-3FAEB6D8C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0DB2E77-E211-4233-B422-46C2B8CDF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E8D95DE-5EFB-4B35-951A-B4498B299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9F6BB68-A740-4C09-99C8-7EEB909CB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B83E2D6-9691-496E-B973-274FF54B7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193D4EB-7C44-4F45-85F3-71C399923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86A2B0E-3B38-4D9E-AF66-724F4F6B3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0A236D2-FC4B-4D6D-8BE0-A48045981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F74CE0A-6820-40C7-B48D-E2DE40EEB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08EB1A5-184B-4227-A57F-07666E775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931CBD4-636F-4D1D-B924-D39F588BC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771CC9B-AFD6-4345-96C0-9DA7B111A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6D5175E-3B62-453E-93DA-AC8232FC8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AFD3D00-D372-4C75-A329-8354FDC18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490C95B-FA42-483B-B6B2-92D69272F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7945F94-1141-4D57-A08B-8A182106B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C54A40B-206C-4B3E-B971-B082414F5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2AA2C2F-5185-47AC-82E3-D6C6F791F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7332098-3FDB-445E-8105-322A46C86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CD68A2F-4DDA-4CE3-A88D-37FA87A02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9530447-CD21-477A-8926-EE1D484B9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2582517-A61C-4E17-86F3-FC8677E29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089759B-DE2B-4C2C-B120-60E5D819C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E0B2229-E492-44B8-A997-E84848CF7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D0D269A-7A18-4E9F-B802-343922B5A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8E8CF76-BD41-44A6-BD43-DC0FD832F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B7E15C8-DC43-48A6-80CA-E12A72197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B73EC80-C741-4DA8-8C93-A96124A83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E83DFF5-6C6B-4039-B2B4-DD2199454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E96B2BC-15B8-47CF-ABB8-9E04F1CA3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0F9815F-8B12-4947-83E3-D8EBA8E26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DC00FFD-F7B1-4620-BE4F-778FF7239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6E6908D-1AB1-4043-885E-4410614DF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B3BA880-BB68-4DDF-9702-EF3EB59CB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363BF63-D0E3-4006-B64C-6283870EB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B48BB43-B818-40DA-8B42-308992338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DA0F928-B7A2-4CE3-9563-265C159D8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38DADDD-E0DF-4D88-A43F-BAADF084D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F55EB41-746F-474B-942D-82E43D178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13C97E8-0789-4AFF-BDE8-A50C78B33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D420498-3553-4025-8204-823A21C44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4</c:v>
                </c:pt>
                <c:pt idx="1">
                  <c:v>0.396</c:v>
                </c:pt>
                <c:pt idx="2">
                  <c:v>0.4292</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745.0597014925373</c:v>
                </c:pt>
                <c:pt idx="1">
                  <c:v>2624.685185185185</c:v>
                </c:pt>
                <c:pt idx="2">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E3A5E4D-F439-43E3-B199-D5F04104B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E399C09-B13A-450B-AF20-91952DF8A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82DF671-938F-46B2-8E47-A58189D1D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C071B09-8A6E-44F2-AE76-BCED51C10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5663084-D30C-4610-93EC-6D33AE987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7EB8D12-BA81-4F51-BC78-265E12AA6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47733A9-4E92-48AA-B7F0-82C0DDFCA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45F37FA-ADF9-449B-A40C-339B96787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94455D0-9F08-4D96-A9BA-EB480A29F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EB2CD2E-955D-4D1A-9657-67F6EBC30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5EC4FB6-BE8D-4A9B-A45E-5C4DA09EC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3975417-F700-46E0-9B72-96B5BC26F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3A10531-B230-43A8-8987-0073B1BBB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79CD4A1-9588-4C20-9EEB-6E5ED4B78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2A1E1A3-22A3-4D96-88F8-5E45D00D7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63F9A23-8638-4E28-8E05-78C200E29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E72C622-310F-42FD-B7DA-01332F3B9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34C4888-0BB8-428F-B5F1-E0E0F1215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59AF3D8-2915-4E55-9602-0B0283237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F4EE7D7-C4C6-494B-B36E-E02AE6E11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D6F9F78-1E3F-49E3-8114-F83564D2A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A35DA6A-6D71-475B-BED3-73B51CEEE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E4BD1BA-E87C-49FA-A8E1-3D0AEF974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B8534FF-ADBC-4847-BBE2-93AA2EC59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D6A4304-B622-4861-8E30-40628684B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AF95A15-2A0E-4AD6-8098-107B66546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87C660E-819C-4424-ACED-EE1A67B7D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D0432E5-7A8E-438A-93C5-343FAB162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8522854-ED31-4252-A8B6-E0D378D9A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0D8C9F7-767B-41EA-80AC-8B112F392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D5026DD-85B2-4ED2-8EA3-984ECB7AA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94940EE-F363-47BE-8E9A-2A9143DDA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144AC2C-EB38-4E4C-8C68-2278DFE70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C9EA087-3056-4EE0-95DA-F3E2A4FAF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64632ED-37D5-4FA2-8F6C-5499723A1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C9B7ACA-EA55-4E7E-B48A-C79B63563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264A9D5-0F1F-41DD-AD9B-5EB61FEC1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2B506CC-C225-4E5F-BCCE-39DE93FA3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2FF1675-AE40-49E0-A9E8-9DFBAEA28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1F3C814-FBA0-4240-BF24-81FF78D65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4F86220-9BE5-4E34-B22F-DA342AFB7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91652EF-F59B-4C40-9635-ADF1A0BE9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F4DAE33-C783-4D52-9E82-B6D621624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8EDD1DE-6898-45CA-8A2B-6BE7E7555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2D8E0D4-D5DC-4DF2-A581-C7EE7D562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8223837-7B93-4AF5-8D6A-81F3BA61A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EE7B932-23BF-4ABC-A3DE-C53F220EE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DF2C707-6C6A-433A-AAB0-544699C0A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EB509DE-C623-4961-9572-744BBBFCE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07A68C1-6B00-4C7D-9A22-87B0C4CAE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4F17473-A610-4764-B44F-CBA89D39D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180A195-3CFB-43CD-8939-02942AAD5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C4F814C-ACCD-4EC7-BBBC-80C83B078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7F493D4-9F4A-40D7-A453-B1C512C91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974013F-8D6D-4FA0-8E06-3E78650BD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35C7D00-2EF5-49A2-ACD4-B1840A679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22C5089-4A3B-4768-A4E2-327437AEB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485</c:v>
                </c:pt>
                <c:pt idx="1">
                  <c:v>-0.9105</c:v>
                </c:pt>
                <c:pt idx="2">
                  <c:v>0.3205</c:v>
                </c:pt>
              </c:numCache>
            </c:numRef>
          </c:xVal>
          <c:yVal>
            <c:numRef>
              <c:f>Sheet1!$B$2:$B$4</c:f>
              <c:numCache>
                <c:formatCode>General</c:formatCode>
                <c:ptCount val="3"/>
                <c:pt idx="0">
                  <c:v>0.6969</c:v>
                </c:pt>
                <c:pt idx="1">
                  <c:v>0.7947</c:v>
                </c:pt>
                <c:pt idx="2">
                  <c:v>0.6902</c:v>
                </c:pt>
              </c:numCache>
            </c:numRef>
          </c:yVal>
          <c:bubbleSize>
            <c:numRef>
              <c:f>Sheet1!$C$2:$C$4</c:f>
              <c:numCache>
                <c:formatCode>General</c:formatCode>
                <c:ptCount val="3"/>
                <c:pt idx="0">
                  <c:v>914.0</c:v>
                </c:pt>
                <c:pt idx="1">
                  <c:v>839.0</c:v>
                </c:pt>
                <c:pt idx="2">
                  <c:v>7307.55357142857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F4C5B05-BF44-428C-B1E4-9CF120DA3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E47A4E6-6D05-40EE-92D9-829C39C04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BD4F1CD-DF88-47B9-84BD-E28236344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A16BDFD-44FE-4F23-A784-FC4D40765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C00C19-FDFB-4876-912F-BF2AB4813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B4BE094-5BC7-4A5B-A9F2-D39602E23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1772BDB-2F14-4C22-8908-C675F5ED1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867447D-02BE-47A7-9B87-E2D6153FA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814</c:v>
                </c:pt>
                <c:pt idx="1">
                  <c:v>1.3228</c:v>
                </c:pt>
              </c:numCache>
            </c:numRef>
          </c:xVal>
          <c:yVal>
            <c:numRef>
              <c:f>Sheet1!$B$2:$B$3</c:f>
              <c:numCache>
                <c:formatCode>General</c:formatCode>
                <c:ptCount val="2"/>
                <c:pt idx="0">
                  <c:v>0.3546</c:v>
                </c:pt>
                <c:pt idx="1">
                  <c:v>0.6533</c:v>
                </c:pt>
              </c:numCache>
            </c:numRef>
          </c:yVal>
          <c:bubbleSize>
            <c:numRef>
              <c:f>Sheet1!$C$2:$C$3</c:f>
              <c:numCache>
                <c:formatCode>General</c:formatCode>
                <c:ptCount val="2"/>
                <c:pt idx="0">
                  <c:v>952941.4383000003</c:v>
                </c:pt>
                <c:pt idx="1">
                  <c:v>356505.1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73599999999999"/>
          <c:min val="0.2251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296740464387"/>
        <c:crossBetween val="midCat"/>
      </c:valAx>
      <c:valAx>
        <c:axId val="1011451359"/>
        <c:scaling>
          <c:orientation val="minMax"/>
          <c:max val="1.14396"/>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492774775760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2C2C164-C113-4C06-A8F3-D6D39F25C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2315798-A7AC-4C49-9E98-FA04B154F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00E6403-7300-40AA-A305-EC79B8C28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C03F735-C812-4393-9C1F-733BD36F2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FD9920E-3560-4A39-B3FA-1E47EA2AE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DA7CEC8-1DFE-49A0-91F7-BE478CB70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4D0A5C9-CFAE-42A7-8984-6E5F35DFF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7F4A5B8-BDF2-4CF3-BA68-EC6A1A0D7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8CDAB73-9A3D-4A52-BA8C-4F347BF26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230B2D8-E8E8-41E7-87E5-86A1A1426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4E636A0-C157-4AAF-ADB0-6966F2F39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D3F143-61A1-473B-A8B3-0994EEA4B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D249875-0FB1-41EE-9FA4-0DA810579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8C5551A-0FA9-4ACB-B62F-1BC1E31F7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EADD6C9-D53D-46F0-B3FC-6DD8C6FF7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84B4D18-A8F9-4969-BB46-4FA9F7380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7CF4456-655C-4630-8DF6-5761636FB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713AE10-A773-45C1-8E87-EC3DB10A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800A120-2553-42D3-A8F5-D8C031FBD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FA4A762-A8C9-453F-8851-9BC816A5B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A190D83-CDEB-453B-8376-BE3B65BEC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922A6EF-BCB3-481E-B24D-F3EABEF19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A04A61B-C086-4DEE-9C76-B428A7FCB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0ECB626-0643-42C5-B383-9A23FC205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DC1DF70-2C0B-4D3C-9DAF-F6B3D1371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885D591-126F-43E9-9969-F892C4114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02E967D-70DC-4585-B592-483CC217B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F3A6B35-4E01-41EE-8761-2C838C739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F7CE49B-2A1F-4B09-A334-5A1DB5172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2EEF013-8C5C-4E77-B019-4AB0A82DE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531248F-E7BB-49D1-A30C-E635179A4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E2F6FFA-60E9-4277-B36D-0C903F34F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7B2FE6C-C281-480E-A5AA-3FEDEB52C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250FA2E-C8A8-480B-9ED1-168547543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922CC3C-0682-4098-8D26-A438E5575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E5BD7F1-7D68-4842-9630-2E5C36677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F8AFCEF-8F6A-4B51-8849-5DCDA9618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63362C4-ED1C-4321-805D-F664EC24E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650A283-1E6E-4214-B7BB-6F084A0AB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B6EA435-F4F4-464E-BE19-575EBA7F2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AC36333-DC22-4F65-AB02-B8DD997F1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CC74505-1753-4835-A582-E453EDE2C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704464D-96D3-42A4-9FF9-08E4C966C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3431FE7-D4FD-4076-8B2F-B326A3208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4CA7BD8-E685-4273-BDA9-0E96BAFA9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B050A6A-B650-4E73-9558-22ACBA0B8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F4EC85F-34A2-403A-9FE6-850B78974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EE90DBD-8C22-422B-84A3-0D454758F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4E1C62E-B7BD-417B-BDE9-58CE2DAED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31D3484-D656-43CD-B5C2-567242412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F447F67-D7FD-4801-9F14-F3558A368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4B6A734-3352-45B4-AADB-36E6F5E0F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DB15D8E-FE08-4AA6-9B0E-F734B267D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7F715F9-4C69-4205-A291-8AE31B3C7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17AAA65-D08D-48CD-A1BA-CB3D952FD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DF50C6C-60E3-4C92-82F4-305B1675A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35C7E79-2BBB-4427-89D8-8D689BF69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9</c:v>
                </c:pt>
                <c:pt idx="1">
                  <c:v>0.3583</c:v>
                </c:pt>
                <c:pt idx="2">
                  <c:v>0.4303</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1148.3170731707316</c:v>
                </c:pt>
                <c:pt idx="1">
                  <c:v>3361.8</c:v>
                </c:pt>
                <c:pt idx="2">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0ECCD47-F4A9-4D8E-AB14-1233251F2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3CE1FF4-AF50-4960-BE0E-D0E2D5704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669C606-6166-4967-B843-B4DAAED5D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F5DC42-4E3D-46F7-967D-0F1AC2BAC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1D8D710-E296-4335-998A-B49C36F04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1A59849-BBFA-4E16-9DC4-E871A70F6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FF960D8-D9A1-477F-9CF5-FD25344D2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4678EDD-94C3-4688-B97E-FD4BD9D87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4EEEFC6-384B-44EE-BDE1-E0B05BC46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B12D436-F6DA-4100-B588-47179751B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50CF79B-8A0B-46F7-81E0-F7B0A26F2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64345EE-6A79-45BA-9C5A-FA986B741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5F84EDB-A462-4A37-915F-520F13BB6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59BBE51-E3E5-4703-BD1F-835CCA24A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4B5EC79-AA51-4819-A150-D98122CA5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4034F7A-7CD8-4700-9691-995E2A1C2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EB03504-5F22-4D57-83A9-6702E3E94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BE84D0B-0A1A-4C84-9993-2A8B47B00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9DABE47-74E3-4B92-8CDD-BE1DF46A1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EFC752B-1E3A-4002-8A24-C7E3B45CC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FCA3B67-CE2A-43E0-9025-7D8492F61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BCFE1AD-6570-4B8F-BBED-5F243F685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BAA3507-FC09-45A8-B1AA-F229AB456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1DA60CC-195E-4637-89BB-990680B6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4EF3F6D-032D-4551-8514-CDC616330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039B00F-2FCF-47BD-B733-3E40DCB0C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04428F6-06D3-4B63-8F94-76D0E0D3C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379C6F3-6D07-4EE7-A11C-3FFA81FC3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C72620A-F421-494B-B29D-ABE0679B4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BB00FD5-2B11-47B1-8393-B141A8E7D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F151D24-A319-4628-8112-8D8CC4945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F5FBB4C-A167-45EE-AAC3-3A2D31113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25A5DC5-AE53-4128-9C25-98B58B8E7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BB14430-A282-463C-AF1C-50B70887D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A52BD8D-6F5D-4626-847F-B7AB126F4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E9F6C4A-365E-4AF2-8848-F760AD9E9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D83FD78-93EE-4418-92B8-9EE7ED442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91BF6BA-CF6C-4CA8-A45F-955561939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2D1306B-6289-478C-B263-E574308C7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BE9E781-5A56-4ED9-A353-F9A055D01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44C5A6D-761B-4B4E-AC67-EBB718EEB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530011E-1FB4-4356-A783-B14DF8B7C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F26997C-4DE9-4E21-9CB4-031C2D11C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E7D3A87-0785-4C91-837C-A6642EA9B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AD20607-9A84-4B5C-A646-E4772E598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D4A8041-B0C1-4DED-A017-063986808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DABA564-53AD-4F16-AECD-023065ED6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DD04BF3-AC9C-4D23-8B31-686954E70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FC3F354-F103-4C0E-A326-DCAC056FF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E7229F8-5979-41F8-960F-443322CEE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5DE885C-3A30-4BB9-A9AB-C74444A9A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C385B6A-AACB-4B0A-9BAC-C22DFCDC1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E585FF6-CB16-4516-991C-6833CAEA5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09379F5-2F34-4372-9B98-6A8DBC71C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2A0A2BA-55BC-45D0-A6E7-61A88CC4D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5FCF416-CB11-40E1-B01A-7659166F6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7F64D08-1F3F-4A42-9945-417D9C00D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1.683</c:v>
                </c:pt>
                <c:pt idx="1">
                  <c:v>0.2205</c:v>
                </c:pt>
                <c:pt idx="2">
                  <c:v>0.2843</c:v>
                </c:pt>
                <c:pt idx="3">
                  <c:v>-0.6417</c:v>
                </c:pt>
                <c:pt idx="4">
                  <c:v>0.3211</c:v>
                </c:pt>
              </c:numCache>
            </c:numRef>
          </c:xVal>
          <c:yVal>
            <c:numRef>
              <c:f>Sheet1!$B$2:$B$6</c:f>
              <c:numCache>
                <c:formatCode>General</c:formatCode>
                <c:ptCount val="5"/>
                <c:pt idx="0">
                  <c:v>0.797</c:v>
                </c:pt>
                <c:pt idx="1">
                  <c:v>0.6948</c:v>
                </c:pt>
                <c:pt idx="2">
                  <c:v>0.7271</c:v>
                </c:pt>
                <c:pt idx="3">
                  <c:v>0.7947</c:v>
                </c:pt>
                <c:pt idx="4">
                  <c:v>0.6903</c:v>
                </c:pt>
              </c:numCache>
            </c:numRef>
          </c:yVal>
          <c:bubbleSize>
            <c:numRef>
              <c:f>Sheet1!$C$2:$C$6</c:f>
              <c:numCache>
                <c:formatCode>General</c:formatCode>
                <c:ptCount val="5"/>
                <c:pt idx="0">
                  <c:v>789.0</c:v>
                </c:pt>
                <c:pt idx="1">
                  <c:v>66122.91836734694</c:v>
                </c:pt>
                <c:pt idx="2">
                  <c:v>19381.2</c:v>
                </c:pt>
                <c:pt idx="3">
                  <c:v>4359.0</c:v>
                </c:pt>
                <c:pt idx="4">
                  <c:v>57541.38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D89468F-A2CB-4A55-8FB8-A420F915B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54BBC9B-28F1-423C-8BD9-8EBA8E28C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9049C2C-9503-49DA-AA9D-5FF74268C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B6BF157-73ED-49BA-8E14-5A00B9848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A998E1C-871C-47CB-899C-3AE6E09E6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C5F038D-172F-4799-91B0-2EAAB7112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A78FA30-43FD-4942-8150-69AE47E9E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3F8BB15-C593-4B25-8C29-2F77E2DBD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89D7592-8CFA-492A-BF22-1FEB4DE25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84955C6-ADC5-40E1-B7A5-1AC45ADA8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F22FE5B-51C2-4894-8226-F7F9D33B0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80A455A-0B8C-4513-AF12-7B10AD3D0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1B87C26-9F7A-4898-B00F-950A94135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295D6E9-9A8F-4EC3-A580-E86C2D185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582362C-262B-486A-8823-BA2ECE726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5935329-8AEA-475A-B108-198F91885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C249215-CE2B-423A-BD09-4818251C7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AF8CA15-1DCE-426A-9BAB-447B7AD5A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3FFC5B1-1373-42E6-ADD9-91B30AE0A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78511D8-E148-48DE-AF25-3DA7B2677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57CE071-FB99-4684-AEC0-10C893CBF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8697FDC-FB66-4E9E-A0DF-A859C795D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BC0FC37-82B3-41C1-8DBD-4274EB3C9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C487F82-9F91-49F3-BE1A-5A40F907C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D5263F4-573C-4501-A859-FE35E7546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0DCDDFE-73F8-4DF7-8FB9-407E41C6B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0AC8397-9A61-4E8B-9099-46947B19B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70AE96F-D668-489C-B85F-AC7C6347C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9179393-B735-428D-8E24-6AD888B9B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F0F4FE9-FD8D-438A-ACEF-AD271DEBE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A02ACB4-23A4-43AD-B46F-26250FDB2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4494298-FF36-4B94-A8D9-088125C53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517A5A6-018C-48FC-A532-76288998B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A0D9575-ED51-485D-95C2-E69127282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8DB4580-A9AA-4F0C-A292-27880C467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0B23CB8-424F-44C4-AFFC-65B02DEFC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74F28C0-7902-4BCB-ADBE-17D018EAD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5F9683D-01CC-4DB3-A09A-BB5F43C6F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1776024-29B3-4F1C-8249-66304C806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F5D9638-32E0-40BD-835F-8A0B771BF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6A0F2FD-3324-4DA8-A345-BD6B841B0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FB250B5-3633-4078-B583-5ED9B6629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89D5BA0-E1F9-4444-9865-09FBA3CD6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54D5C51-ABCA-43CB-88B7-561093D02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5C2CAE4-44AD-440F-8E2D-99C341AA3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F11BC79-6149-43B8-84F3-7C5FF91B1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8A37DAF-D6B8-4B75-AA75-9540D78A9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7ED1277-2C20-4B8C-8A21-319BE1283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1C215E5-5C5D-4E20-9EC7-3866211E9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73FCC48-BAA9-4AB5-BB2C-46F5A7883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B9902A9-588B-4F5D-8EC3-A67C12F12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50E5191-4688-4E93-A055-2A042DE2B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64644C5-9A17-4581-BAA6-243DF6777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81B7EAA-DCC2-4125-A34D-C497D9688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18DF824-ED0D-4520-8E20-CF4E5C07D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F751DA2-BCC5-40CF-940F-1065E40AE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9E18C12-9CC3-4A2E-9189-B93D7A312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64</c:v>
                </c:pt>
              </c:numCache>
            </c:numRef>
          </c:xVal>
          <c:yVal>
            <c:numRef>
              <c:f>Sheet1!$B$2:$B$2</c:f>
              <c:numCache>
                <c:formatCode>General</c:formatCode>
                <c:ptCount val="1"/>
                <c:pt idx="0">
                  <c:v>0.7142</c:v>
                </c:pt>
              </c:numCache>
            </c:numRef>
          </c:yVal>
          <c:bubbleSize>
            <c:numRef>
              <c:f>Sheet1!$C$2:$C$2</c:f>
              <c:numCache>
                <c:formatCode>General</c:formatCode>
                <c:ptCount val="1"/>
                <c:pt idx="0">
                  <c:v>5990.2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1A53272-2405-4505-9912-5AE11DF2C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894F760-99C7-4D70-96A9-D9C5550AF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FB20F62-67B9-45BB-B640-01BD02E96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AC8E7C-1806-4440-8CC0-CA9AAA712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75ADAC1-5D95-4C7B-B01C-9459C5FA3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D05FBE6-D42B-476F-89EB-978C69DEE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29EA8B8-C6DA-4711-AE9C-662077CE5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AA935A-B70B-4B60-BBA6-42DE5B047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BF596CB-A8E5-4933-B17F-2B7EC1911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BC142B6-C40A-402D-86D5-A8AD420E9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344C0BC-106C-40B8-A875-59D319E20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E211405-A207-41AA-BDAC-567E76380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5AFA7B3-7347-4EE1-BB71-49902BEA2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C5E98EF-43BE-472F-A9D2-3B4802E56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020197A-0ACB-4855-AD6B-13FAC59D3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CCF2FE7-53DA-4E18-8022-E71333EB2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7576C78-0CE3-4482-957F-0C78D7465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3AA9BE6-C955-4B31-82DF-7F341B6D5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B0FBEFA-0385-41CA-9B19-06B1EEFF5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DDE754B-11BE-4072-8CFC-DC8A09A36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D92BF4E-C78B-4325-A9B3-CD5E7BFC6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8D8E78F-7611-4F7A-9195-47AE03E3C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2FB587D-67B7-4E9C-98B2-DE73C3829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A1937FB-92F1-4AF8-B041-F32DF4484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2E9071E-AD76-401D-B071-4AB75DAE4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40AAC28-0249-4C37-961C-49C97090E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1F6E7F5-B045-4090-B9DC-CFBDA3E7E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EC914FD-46EC-4EC4-B9E2-61B81A74E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5048766-5B7A-4E48-8EBB-80F9C4D02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970823B-E98A-4ED7-9A50-A3A9D43D4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517E531-06B8-4347-AF65-E7992FBCF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0D2121A-DE6F-45A8-851E-DCAB7DDCE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9381EF6-8D42-4F55-947B-522C23BCA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2A5124D-4F60-4AFA-A7DD-6A1B1A05D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D3F8E77-D5DF-4382-9189-2D01FB851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504C5E2-E75D-47D7-B58E-EAC8B017B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F5539D5-5F4F-4B95-A95F-F7C28A850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0ACDD67-555F-421E-B8BF-9BCA7799E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F7F56A6-4110-4052-BCA9-48F0724A5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2F3721B-67AA-4FB1-8A30-566B2B8A7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39A4D43-E186-4FEA-AD66-F595E64E6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A8F4914-B65C-4268-B88A-5562D0F35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94366F3-0D15-44C1-B29E-017C18C5A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726469A-98D9-436A-ABCE-7FB77A4D0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0817CA2-0A91-4E2F-868E-9ED64347F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E64DBC3-C092-48C9-BE90-191BF985D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2042410-AC92-4FC1-B3B1-3FD04DFAC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B51CFED-90AD-4EA2-9CF9-C92805606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A66F362-B795-4E79-85B9-FF48C576C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E2AD90A-2E14-4E69-933B-390D2F44A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BBFFA17-0ADD-47D1-A2A6-A7388F2FD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A271436-FE57-409E-B9CE-0655E00FE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E241F86-AC8A-416F-9AE1-6610EE102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6A90F2A-397C-40A4-BE43-87ECC0D8E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74EF814-8581-4BE2-BA64-6E789D9EB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B91FDBD-B995-429A-AA5B-36D309EE5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6B61EBD-A3A0-4A8F-B6F0-52E31E90C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065</c:v>
                </c:pt>
                <c:pt idx="2">
                  <c:v>0.4301</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8564.56338028169</c:v>
                </c:pt>
                <c:pt idx="1">
                  <c:v>32905.13333333333</c:v>
                </c:pt>
                <c:pt idx="2">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C4D0DB5-3945-46B8-87B7-1223C75C1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A0D8AC7-FEE8-4BD0-813D-D8802B799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77FD88B-A7B0-427B-BFEF-0CEF684B6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58A2C45-B103-4C26-9287-940C75F47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0DE70C4-A07A-4530-98B6-75A4B3BA1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AD72BF8-F7CE-400C-A5C1-1A55704C5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F47E79B-9C1E-4D20-892F-FDB19E632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01A02EB-6BD2-4B4E-8AE0-E32AB4413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6656</c:v>
                </c:pt>
                <c:pt idx="1">
                  <c:v>2.2102</c:v>
                </c:pt>
              </c:numCache>
            </c:numRef>
          </c:xVal>
          <c:yVal>
            <c:numRef>
              <c:f>Sheet1!$B$2:$B$3</c:f>
              <c:numCache>
                <c:formatCode>General</c:formatCode>
                <c:ptCount val="2"/>
                <c:pt idx="0">
                  <c:v>0.6928</c:v>
                </c:pt>
                <c:pt idx="1">
                  <c:v>0.7136</c:v>
                </c:pt>
              </c:numCache>
            </c:numRef>
          </c:yVal>
          <c:bubbleSize>
            <c:numRef>
              <c:f>Sheet1!$C$2:$C$3</c:f>
              <c:numCache>
                <c:formatCode>General</c:formatCode>
                <c:ptCount val="2"/>
                <c:pt idx="0">
                  <c:v>6385521.421700004</c:v>
                </c:pt>
                <c:pt idx="1">
                  <c:v>28272.36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65224"/>
          <c:min val="1.332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8916875891065"/>
        <c:crossBetween val="midCat"/>
      </c:valAx>
      <c:valAx>
        <c:axId val="1011451359"/>
        <c:scaling>
          <c:orientation val="minMax"/>
          <c:max val="1.21632"/>
          <c:min val="0.3142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800062793401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8BD0296-7A06-4ECC-B1E8-40BF00096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BD1A91B-3C7F-4423-A3FF-7CA603BCD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9A0B7BE-A908-4058-B385-EDC30A2D0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24B3480-9748-45D0-95AE-9312F6B89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64E5604-D8BA-41E0-BE06-909080974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44A407F-21EE-4FA8-80B3-1A19A47CA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1511FA7-9AA9-45A6-B06C-788D18587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EF929AA-FA3F-402F-B66C-2AB9BF9F1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74</c:v>
                </c:pt>
                <c:pt idx="1">
                  <c:v>0.6542</c:v>
                </c:pt>
                <c:pt idx="2">
                  <c:v>2.0796</c:v>
                </c:pt>
              </c:numCache>
            </c:numRef>
          </c:xVal>
          <c:yVal>
            <c:numRef>
              <c:f>Sheet1!$B$2:$B$4</c:f>
              <c:numCache>
                <c:formatCode>General</c:formatCode>
                <c:ptCount val="3"/>
                <c:pt idx="0">
                  <c:v>0.6929</c:v>
                </c:pt>
                <c:pt idx="1">
                  <c:v>0.6296</c:v>
                </c:pt>
                <c:pt idx="2">
                  <c:v>0.4513</c:v>
                </c:pt>
              </c:numCache>
            </c:numRef>
          </c:yVal>
          <c:bubbleSize>
            <c:numRef>
              <c:f>Sheet1!$C$2:$C$4</c:f>
              <c:numCache>
                <c:formatCode>General</c:formatCode>
                <c:ptCount val="3"/>
                <c:pt idx="0">
                  <c:v>6413810.848300001</c:v>
                </c:pt>
                <c:pt idx="1">
                  <c:v>12656356.554299988</c:v>
                </c:pt>
                <c:pt idx="2">
                  <c:v>3733434.35039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9552"/>
          <c:min val="0.523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124516297183"/>
        <c:crossBetween val="midCat"/>
      </c:valAx>
      <c:valAx>
        <c:axId val="1011451359"/>
        <c:scaling>
          <c:orientation val="minMax"/>
          <c:max val="1.1914799999999999"/>
          <c:min val="0.12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7254401436179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BB5C4B2-4F9B-45CB-B3A7-1478535C8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D1081E9-8D8A-49F8-B204-EA11A7ADB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9B09191-5055-4681-8022-B71D8EAC8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D528E18-D988-4089-AA62-0CBBB70FA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A91E715-FF1E-481F-A40F-BB2DB23C9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FE5E560-1686-4741-8504-2347A1B85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A0B0CB5-14E7-4936-9722-D125F612C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4BABE12-F2B7-49C2-B01F-4C67E5D0D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65</c:v>
                </c:pt>
                <c:pt idx="1">
                  <c:v>0.2956</c:v>
                </c:pt>
                <c:pt idx="2">
                  <c:v>2.1591</c:v>
                </c:pt>
              </c:numCache>
            </c:numRef>
          </c:xVal>
          <c:yVal>
            <c:numRef>
              <c:f>Sheet1!$B$2:$B$4</c:f>
              <c:numCache>
                <c:formatCode>General</c:formatCode>
                <c:ptCount val="3"/>
                <c:pt idx="0">
                  <c:v>0.7201</c:v>
                </c:pt>
                <c:pt idx="1">
                  <c:v>0.3656</c:v>
                </c:pt>
                <c:pt idx="2">
                  <c:v>0.4198</c:v>
                </c:pt>
              </c:numCache>
            </c:numRef>
          </c:yVal>
          <c:bubbleSize>
            <c:numRef>
              <c:f>Sheet1!$C$2:$C$4</c:f>
              <c:numCache>
                <c:formatCode>General</c:formatCode>
                <c:ptCount val="3"/>
                <c:pt idx="0">
                  <c:v>4380267.244600004</c:v>
                </c:pt>
                <c:pt idx="1">
                  <c:v>13456423.158500016</c:v>
                </c:pt>
                <c:pt idx="2">
                  <c:v>1214691.3791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0.23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1869404677"/>
        <c:crossBetween val="midCat"/>
      </c:valAx>
      <c:valAx>
        <c:axId val="1011451359"/>
        <c:scaling>
          <c:orientation val="minMax"/>
          <c:max val="1.2241199999999999"/>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1548018710897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0F7F5B8-3483-444A-B185-DC2464D38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6EAA1B7-D7C5-41D5-B3AF-DA58F94F5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0BAD7E0-A667-4511-9E0A-2071FFABB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6996376-E2DE-4D78-9D46-97138EB25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D14455A-D24A-4F02-93CC-DDB8B8FC5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FC31233-1585-430A-92CF-EA309B660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213495F-5ECC-4426-9631-4E0932D06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5FFE1A1-8218-4266-BB34-E77164B23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83</c:v>
                </c:pt>
                <c:pt idx="1">
                  <c:v>0.6572</c:v>
                </c:pt>
                <c:pt idx="2">
                  <c:v>2.0861</c:v>
                </c:pt>
              </c:numCache>
            </c:numRef>
          </c:xVal>
          <c:yVal>
            <c:numRef>
              <c:f>Sheet1!$B$2:$B$4</c:f>
              <c:numCache>
                <c:formatCode>General</c:formatCode>
                <c:ptCount val="3"/>
                <c:pt idx="0">
                  <c:v>0.693</c:v>
                </c:pt>
                <c:pt idx="1">
                  <c:v>0.6256</c:v>
                </c:pt>
                <c:pt idx="2">
                  <c:v>0.4432</c:v>
                </c:pt>
              </c:numCache>
            </c:numRef>
          </c:yVal>
          <c:bubbleSize>
            <c:numRef>
              <c:f>Sheet1!$C$2:$C$4</c:f>
              <c:numCache>
                <c:formatCode>General</c:formatCode>
                <c:ptCount val="3"/>
                <c:pt idx="0">
                  <c:v>5755991.0456</c:v>
                </c:pt>
                <c:pt idx="1">
                  <c:v>10963215.676699987</c:v>
                </c:pt>
                <c:pt idx="2">
                  <c:v>3375658.9168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0332"/>
          <c:min val="0.5257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654434989201"/>
        <c:crossBetween val="midCat"/>
      </c:valAx>
      <c:valAx>
        <c:axId val="1011451359"/>
        <c:scaling>
          <c:orientation val="minMax"/>
          <c:max val="1.1915999999999998"/>
          <c:min val="0.114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8685577196008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B07BA43-E750-4C15-9C3F-8B4CB37AD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CB10348-0D78-49B3-8771-E4CD75281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CA2D09A-1612-41B6-A5F7-FFB6ABCEE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2237FD1-6B68-4A72-B2F0-C009B9F50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2F0DE37-9678-40A3-BD7C-932BF2D98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47EEA9E-185B-46FA-A877-ABEC90A39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7271D4F-BEAB-4016-8BBB-E4A0B8F86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EAFD855-4FFC-43A5-81DB-ED616571F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67</c:v>
                </c:pt>
                <c:pt idx="1">
                  <c:v>0.2993</c:v>
                </c:pt>
                <c:pt idx="2">
                  <c:v>2.1592</c:v>
                </c:pt>
              </c:numCache>
            </c:numRef>
          </c:xVal>
          <c:yVal>
            <c:numRef>
              <c:f>Sheet1!$B$2:$B$4</c:f>
              <c:numCache>
                <c:formatCode>General</c:formatCode>
                <c:ptCount val="3"/>
                <c:pt idx="0">
                  <c:v>0.7201</c:v>
                </c:pt>
                <c:pt idx="1">
                  <c:v>0.3686</c:v>
                </c:pt>
                <c:pt idx="2">
                  <c:v>0.4198</c:v>
                </c:pt>
              </c:numCache>
            </c:numRef>
          </c:yVal>
          <c:bubbleSize>
            <c:numRef>
              <c:f>Sheet1!$C$2:$C$4</c:f>
              <c:numCache>
                <c:formatCode>General</c:formatCode>
                <c:ptCount val="3"/>
                <c:pt idx="0">
                  <c:v>3804955.4075</c:v>
                </c:pt>
                <c:pt idx="1">
                  <c:v>11591402.168600013</c:v>
                </c:pt>
                <c:pt idx="2">
                  <c:v>1046552.115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0.2394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727141543853"/>
        <c:crossBetween val="midCat"/>
      </c:valAx>
      <c:valAx>
        <c:axId val="1011451359"/>
        <c:scaling>
          <c:orientation val="minMax"/>
          <c:max val="1.2241199999999999"/>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534018165397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D983214-CA88-4AEF-A3B9-44A311C05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EE98A55-EB18-467B-BE58-545B65F81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C92B743-8F6E-48A5-8D26-DCB8F0AE9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95EB4FF-7DF1-4E81-90C5-89424017A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CA8D7F4-F4CE-46C6-BE6C-9083F1FB9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AFC23B9-CC16-4A95-B58B-33946F0C3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D5462AC-E017-4C13-A801-7DD96B270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5258EEB-CDD2-4076-8DD9-8109D4628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525</c:v>
                </c:pt>
                <c:pt idx="1">
                  <c:v>0.644</c:v>
                </c:pt>
                <c:pt idx="2">
                  <c:v>2.0193</c:v>
                </c:pt>
              </c:numCache>
            </c:numRef>
          </c:xVal>
          <c:yVal>
            <c:numRef>
              <c:f>Sheet1!$B$2:$B$4</c:f>
              <c:numCache>
                <c:formatCode>General</c:formatCode>
                <c:ptCount val="3"/>
                <c:pt idx="0">
                  <c:v>0.6908</c:v>
                </c:pt>
                <c:pt idx="1">
                  <c:v>0.6584</c:v>
                </c:pt>
                <c:pt idx="2">
                  <c:v>0.5308</c:v>
                </c:pt>
              </c:numCache>
            </c:numRef>
          </c:yVal>
          <c:bubbleSize>
            <c:numRef>
              <c:f>Sheet1!$C$2:$C$4</c:f>
              <c:numCache>
                <c:formatCode>General</c:formatCode>
                <c:ptCount val="3"/>
                <c:pt idx="0">
                  <c:v>280587.6849999999</c:v>
                </c:pt>
                <c:pt idx="1">
                  <c:v>786080.1156</c:v>
                </c:pt>
                <c:pt idx="2">
                  <c:v>176237.3407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231599999999998"/>
          <c:min val="0.51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6213466384829"/>
        <c:crossBetween val="midCat"/>
      </c:valAx>
      <c:valAx>
        <c:axId val="1011451359"/>
        <c:scaling>
          <c:orientation val="minMax"/>
          <c:max val="1.1889599999999998"/>
          <c:min val="0.18464000000000005"/>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668060331436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789A612-5FBA-4FFD-9D4E-6A386E4F6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3560AB1-2158-46D7-941F-2DE510BB1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867B7AB-0053-43F1-852C-31D453732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BDE27D9-42A0-40DB-8C76-1DF343DCA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E127F4D-A412-4E82-8731-F43252DFA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F8C5259-E6E9-479B-946F-6980AD014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6A90EC7-2C18-4338-8C9C-64EDD29A8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8CA636B-C55D-4E96-9F0A-2E451F06E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9</c:v>
                </c:pt>
                <c:pt idx="1">
                  <c:v>0.2675</c:v>
                </c:pt>
                <c:pt idx="2">
                  <c:v>2.1589</c:v>
                </c:pt>
              </c:numCache>
            </c:numRef>
          </c:xVal>
          <c:yVal>
            <c:numRef>
              <c:f>Sheet1!$B$2:$B$4</c:f>
              <c:numCache>
                <c:formatCode>General</c:formatCode>
                <c:ptCount val="3"/>
                <c:pt idx="0">
                  <c:v>0.7206</c:v>
                </c:pt>
                <c:pt idx="1">
                  <c:v>0.3388</c:v>
                </c:pt>
                <c:pt idx="2">
                  <c:v>0.4199</c:v>
                </c:pt>
              </c:numCache>
            </c:numRef>
          </c:yVal>
          <c:bubbleSize>
            <c:numRef>
              <c:f>Sheet1!$C$2:$C$4</c:f>
              <c:numCache>
                <c:formatCode>General</c:formatCode>
                <c:ptCount val="3"/>
                <c:pt idx="0">
                  <c:v>297456.80799999996</c:v>
                </c:pt>
                <c:pt idx="1">
                  <c:v>912079.5516000001</c:v>
                </c:pt>
                <c:pt idx="2">
                  <c:v>89489.1703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0.2140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1324587041797"/>
        <c:crossBetween val="midCat"/>
      </c:valAx>
      <c:valAx>
        <c:axId val="1011451359"/>
        <c:scaling>
          <c:orientation val="minMax"/>
          <c:max val="1.2247199999999998"/>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1109666014151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A5617BB-127F-4241-9A7B-DA3A92CA9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05BFBB4-EB58-4F0F-90D9-7704B4D38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5529A2F-C2D0-4330-9A23-EF7946E4C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737D2F9-8C32-4120-BC4E-8F1C734DA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7ED7597-7CB0-45B0-933C-83EA03E6A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88A3232-129E-4E38-8DC3-B176F2E66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CF8DB7F-FECD-462C-B2E5-22D492C53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B5C785B-040B-4E98-8E03-280CE7229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56</c:v>
                </c:pt>
                <c:pt idx="1">
                  <c:v>0.6293</c:v>
                </c:pt>
                <c:pt idx="2">
                  <c:v>2.0202</c:v>
                </c:pt>
              </c:numCache>
            </c:numRef>
          </c:xVal>
          <c:yVal>
            <c:numRef>
              <c:f>Sheet1!$B$2:$B$4</c:f>
              <c:numCache>
                <c:formatCode>General</c:formatCode>
                <c:ptCount val="3"/>
                <c:pt idx="0">
                  <c:v>0.6926</c:v>
                </c:pt>
                <c:pt idx="1">
                  <c:v>0.6528</c:v>
                </c:pt>
                <c:pt idx="2">
                  <c:v>0.5259</c:v>
                </c:pt>
              </c:numCache>
            </c:numRef>
          </c:yVal>
          <c:bubbleSize>
            <c:numRef>
              <c:f>Sheet1!$C$2:$C$4</c:f>
              <c:numCache>
                <c:formatCode>General</c:formatCode>
                <c:ptCount val="3"/>
                <c:pt idx="0">
                  <c:v>377232.1177</c:v>
                </c:pt>
                <c:pt idx="1">
                  <c:v>907060.762</c:v>
                </c:pt>
                <c:pt idx="2">
                  <c:v>181538.09279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242399999999997"/>
          <c:min val="0.503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3264182280335"/>
        <c:crossBetween val="midCat"/>
      </c:valAx>
      <c:valAx>
        <c:axId val="1011451359"/>
        <c:scaling>
          <c:orientation val="minMax"/>
          <c:max val="1.19112"/>
          <c:min val="0.18072000000000005"/>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825032163950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1E8994B-0395-477A-86A4-F35A53E6F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CADC3B0-DB25-48AC-B78E-B9FE8C3E8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C1632B5-6D20-436B-9CA4-0CDF8FE6D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9AABD8D-A2E8-4B42-A512-9A9C7F186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41EABA8-B1B1-44A0-AEB0-D2AB76CBD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88D1061-4FFE-4EEA-99E8-5AAC44EB5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7A23AA9-DFF9-47B9-A3CC-90FE99D18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1F444A6-06D4-4330-83FC-B2E1C8688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1</c:v>
                </c:pt>
                <c:pt idx="1">
                  <c:v>0.2814</c:v>
                </c:pt>
                <c:pt idx="2">
                  <c:v>2.1586</c:v>
                </c:pt>
              </c:numCache>
            </c:numRef>
          </c:xVal>
          <c:yVal>
            <c:numRef>
              <c:f>Sheet1!$B$2:$B$4</c:f>
              <c:numCache>
                <c:formatCode>General</c:formatCode>
                <c:ptCount val="3"/>
                <c:pt idx="0">
                  <c:v>0.7195</c:v>
                </c:pt>
                <c:pt idx="1">
                  <c:v>0.3546</c:v>
                </c:pt>
                <c:pt idx="2">
                  <c:v>0.4195</c:v>
                </c:pt>
              </c:numCache>
            </c:numRef>
          </c:yVal>
          <c:bubbleSize>
            <c:numRef>
              <c:f>Sheet1!$C$2:$C$4</c:f>
              <c:numCache>
                <c:formatCode>General</c:formatCode>
                <c:ptCount val="3"/>
                <c:pt idx="0">
                  <c:v>277855.0291</c:v>
                </c:pt>
                <c:pt idx="1">
                  <c:v>952941.4383000003</c:v>
                </c:pt>
                <c:pt idx="2">
                  <c:v>78650.0928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0.2251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72525786786"/>
        <c:crossBetween val="midCat"/>
      </c:valAx>
      <c:valAx>
        <c:axId val="1011451359"/>
        <c:scaling>
          <c:orientation val="minMax"/>
          <c:max val="1.2234"/>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739532775239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C00000"/>
              </a:solidFill>
            </c:spPr>
          </c:dPt>
          <c:dPt>
            <c:idx val="14"/>
            <c:spPr>
              <a:solidFill>
                <a:srgbClr val="006C6D"/>
              </a:solidFill>
            </c:spPr>
          </c:dPt>
          <c:dLbls>
            <c:dLbl>
              <c:idx val="0"/>
              <c:tx>
                <c:rich>
                  <a:bodyPr/>
                  <a:lstStyle/>
                  <a:p>
                    <a:fld id="{98560D96-5E38-4C66-BD6F-7C0F67066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974547C-517A-427A-BDC9-C7397A69F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E0129D4-67F8-4873-BB21-95E9B9865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46A4718-D883-46D8-A359-AF2AED9E8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6F9938E-2192-41A6-81C2-C0E35F008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199BD35-69E1-4F8D-A2CF-AAC33564C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28671FF-B7F4-43C5-B1D3-DDE7E43D5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AAC517C-051D-43FD-A8BF-CA68DE047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6</c:f>
              <c:numCache>
                <c:formatCode>General</c:formatCode>
                <c:ptCount val="15"/>
                <c:pt idx="0">
                  <c:v>0.8266</c:v>
                </c:pt>
                <c:pt idx="1">
                  <c:v>2.2298</c:v>
                </c:pt>
                <c:pt idx="2">
                  <c:v>0.7994</c:v>
                </c:pt>
                <c:pt idx="3">
                  <c:v>4.7177</c:v>
                </c:pt>
                <c:pt idx="4">
                  <c:v>0.8186</c:v>
                </c:pt>
                <c:pt idx="5">
                  <c:v>1.7027</c:v>
                </c:pt>
                <c:pt idx="6">
                  <c:v>1.0221</c:v>
                </c:pt>
                <c:pt idx="7">
                  <c:v>1.5005</c:v>
                </c:pt>
                <c:pt idx="8">
                  <c:v>0.9365</c:v>
                </c:pt>
                <c:pt idx="9">
                  <c:v>1.1915</c:v>
                </c:pt>
                <c:pt idx="10">
                  <c:v>0.9699</c:v>
                </c:pt>
                <c:pt idx="11">
                  <c:v>0.351</c:v>
                </c:pt>
                <c:pt idx="12">
                  <c:v>1.6533</c:v>
                </c:pt>
                <c:pt idx="13">
                  <c:v>1.0563</c:v>
                </c:pt>
                <c:pt idx="14">
                  <c:v>2.0185</c:v>
                </c:pt>
              </c:numCache>
            </c:numRef>
          </c:xVal>
          <c:yVal>
            <c:numRef>
              <c:f>Sheet1!$B$2:$B$16</c:f>
              <c:numCache>
                <c:formatCode>General</c:formatCode>
                <c:ptCount val="15"/>
                <c:pt idx="0">
                  <c:v>0.3363</c:v>
                </c:pt>
                <c:pt idx="1">
                  <c:v>0.2544</c:v>
                </c:pt>
                <c:pt idx="2">
                  <c:v>0.5237</c:v>
                </c:pt>
                <c:pt idx="3">
                  <c:v>0.372</c:v>
                </c:pt>
                <c:pt idx="4">
                  <c:v>0.4895</c:v>
                </c:pt>
                <c:pt idx="5">
                  <c:v>0.695</c:v>
                </c:pt>
                <c:pt idx="6">
                  <c:v>0.6218</c:v>
                </c:pt>
                <c:pt idx="7">
                  <c:v>0.6039</c:v>
                </c:pt>
                <c:pt idx="8">
                  <c:v>0.6295</c:v>
                </c:pt>
                <c:pt idx="9">
                  <c:v>0.7269</c:v>
                </c:pt>
                <c:pt idx="10">
                  <c:v>0.6515</c:v>
                </c:pt>
                <c:pt idx="11">
                  <c:v>0.7677</c:v>
                </c:pt>
                <c:pt idx="12">
                  <c:v>0.6906</c:v>
                </c:pt>
                <c:pt idx="13">
                  <c:v>0.6351</c:v>
                </c:pt>
                <c:pt idx="14">
                  <c:v>0.5305</c:v>
                </c:pt>
              </c:numCache>
            </c:numRef>
          </c:yVal>
          <c:bubbleSize>
            <c:numRef>
              <c:f>Sheet1!$C$2:$C$16</c:f>
              <c:numCache>
                <c:formatCode>General</c:formatCode>
                <c:ptCount val="15"/>
                <c:pt idx="0">
                  <c:v>2412.9196</c:v>
                </c:pt>
                <c:pt idx="1">
                  <c:v>3101.6832999999997</c:v>
                </c:pt>
                <c:pt idx="2">
                  <c:v>144963.8552</c:v>
                </c:pt>
                <c:pt idx="3">
                  <c:v>1486.0825</c:v>
                </c:pt>
                <c:pt idx="4">
                  <c:v>23760.718799999995</c:v>
                </c:pt>
                <c:pt idx="5">
                  <c:v>127660.91679999999</c:v>
                </c:pt>
                <c:pt idx="6">
                  <c:v>180016.2997</c:v>
                </c:pt>
                <c:pt idx="7">
                  <c:v>3205.0188000000003</c:v>
                </c:pt>
                <c:pt idx="8">
                  <c:v>28611.328400000002</c:v>
                </c:pt>
                <c:pt idx="9">
                  <c:v>3367.1780999999996</c:v>
                </c:pt>
                <c:pt idx="10">
                  <c:v>239980.50240000003</c:v>
                </c:pt>
                <c:pt idx="11">
                  <c:v>263862.60159999994</c:v>
                </c:pt>
                <c:pt idx="12">
                  <c:v>244698.5876</c:v>
                </c:pt>
                <c:pt idx="13">
                  <c:v>23392.570499999998</c:v>
                </c:pt>
                <c:pt idx="14">
                  <c:v>173389.46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2375927574631"/>
        <c:crossBetween val="midCat"/>
      </c:valAx>
      <c:valAx>
        <c:axId val="1011451359"/>
        <c:scaling>
          <c:orientation val="minMax"/>
          <c:max val="1.2812400000000002"/>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5639914290400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9B5D0EA-C720-4762-9A76-0752D40BB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93DB2A5-0B9F-4E5C-BAD7-447D7F345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A65B0F0-ADD6-41D9-8AAB-B9D3BD4F1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46805C3-0397-4901-AA3C-95F382121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1AE5211-490E-4F2B-A0CF-F90C183FA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7093ED0-E57F-43DD-BB8B-244858980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2BD9953-5B4F-41F2-972C-09CA7AF13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A6EFDCD-F583-45A3-9E3C-E74837746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9444</c:v>
                </c:pt>
                <c:pt idx="1">
                  <c:v>2.1586</c:v>
                </c:pt>
                <c:pt idx="2">
                  <c:v>0.7653</c:v>
                </c:pt>
                <c:pt idx="3">
                  <c:v>0.9755</c:v>
                </c:pt>
                <c:pt idx="4">
                  <c:v>0.4494</c:v>
                </c:pt>
                <c:pt idx="5">
                  <c:v>0.4127</c:v>
                </c:pt>
                <c:pt idx="6">
                  <c:v>0.1407</c:v>
                </c:pt>
                <c:pt idx="7">
                  <c:v>0.1083</c:v>
                </c:pt>
                <c:pt idx="8">
                  <c:v>1.1413</c:v>
                </c:pt>
                <c:pt idx="9">
                  <c:v>1.2749</c:v>
                </c:pt>
              </c:numCache>
            </c:numRef>
          </c:xVal>
          <c:yVal>
            <c:numRef>
              <c:f>Sheet1!$B$2:$B$11</c:f>
              <c:numCache>
                <c:formatCode>General</c:formatCode>
                <c:ptCount val="10"/>
                <c:pt idx="0">
                  <c:v>0.4911</c:v>
                </c:pt>
                <c:pt idx="1">
                  <c:v>0.4195</c:v>
                </c:pt>
                <c:pt idx="2">
                  <c:v>0.4934</c:v>
                </c:pt>
                <c:pt idx="3">
                  <c:v>0.6837</c:v>
                </c:pt>
                <c:pt idx="4">
                  <c:v>0.48</c:v>
                </c:pt>
                <c:pt idx="5">
                  <c:v>0.5166</c:v>
                </c:pt>
                <c:pt idx="6">
                  <c:v>0.0104</c:v>
                </c:pt>
                <c:pt idx="7">
                  <c:v>-0.0032</c:v>
                </c:pt>
                <c:pt idx="8">
                  <c:v>0.7091</c:v>
                </c:pt>
                <c:pt idx="9">
                  <c:v>0.7317</c:v>
                </c:pt>
              </c:numCache>
            </c:numRef>
          </c:yVal>
          <c:bubbleSize>
            <c:numRef>
              <c:f>Sheet1!$C$2:$C$11</c:f>
              <c:numCache>
                <c:formatCode>General</c:formatCode>
                <c:ptCount val="10"/>
                <c:pt idx="0">
                  <c:v>310226.51690000005</c:v>
                </c:pt>
                <c:pt idx="1">
                  <c:v>78650.09289999999</c:v>
                </c:pt>
                <c:pt idx="2">
                  <c:v>129385.61390000003</c:v>
                </c:pt>
                <c:pt idx="3">
                  <c:v>30082.322399999997</c:v>
                </c:pt>
                <c:pt idx="4">
                  <c:v>100468.0599</c:v>
                </c:pt>
                <c:pt idx="5">
                  <c:v>141820.57580000002</c:v>
                </c:pt>
                <c:pt idx="6">
                  <c:v>85078.34020000002</c:v>
                </c:pt>
                <c:pt idx="7">
                  <c:v>185958.43340000004</c:v>
                </c:pt>
                <c:pt idx="8">
                  <c:v>85603.14790000001</c:v>
                </c:pt>
                <c:pt idx="9">
                  <c:v>162101.8535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65376878952"/>
        <c:crossBetween val="midCat"/>
      </c:valAx>
      <c:valAx>
        <c:axId val="1011451359"/>
        <c:scaling>
          <c:orientation val="minMax"/>
          <c:max val="1.23804"/>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760340411789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AE1EACA-3DCE-4568-AD02-B95CC7FDE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8A96A44-05F1-4152-8EA4-048BE22EA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23A9458-3FFD-4DAE-A784-3207526BA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13EA590-0DA2-40E5-9C4C-C08F3ACF8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D74B7A1-801E-40BD-A8A3-806DED11F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0890CC4-9547-4EF5-90EE-59C60E112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ADF5C81-D9DA-4897-BDFE-E931708D3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AD7D63E-9E77-4073-B45A-00A78E601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833</c:v>
                </c:pt>
                <c:pt idx="1">
                  <c:v>3.2023</c:v>
                </c:pt>
              </c:numCache>
            </c:numRef>
          </c:xVal>
          <c:yVal>
            <c:numRef>
              <c:f>Sheet1!$B$2:$B$3</c:f>
              <c:numCache>
                <c:formatCode>General</c:formatCode>
                <c:ptCount val="2"/>
                <c:pt idx="0">
                  <c:v>0.6476</c:v>
                </c:pt>
                <c:pt idx="1">
                  <c:v>0.4911</c:v>
                </c:pt>
              </c:numCache>
            </c:numRef>
          </c:yVal>
          <c:bubbleSize>
            <c:numRef>
              <c:f>Sheet1!$C$2:$C$3</c:f>
              <c:numCache>
                <c:formatCode>General</c:formatCode>
                <c:ptCount val="2"/>
                <c:pt idx="0">
                  <c:v>1463493.4481999993</c:v>
                </c:pt>
                <c:pt idx="1">
                  <c:v>2331.24249999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84276"/>
          <c:min val="0.6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3511029432341"/>
        <c:crossBetween val="midCat"/>
      </c:valAx>
      <c:valAx>
        <c:axId val="1011451359"/>
        <c:scaling>
          <c:orientation val="minMax"/>
          <c:max val="1.13712"/>
          <c:min val="0.1528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3676812649581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C00000"/>
              </a:solidFill>
            </c:spPr>
          </c:dPt>
          <c:dPt>
            <c:idx val="14"/>
            <c:spPr>
              <a:solidFill>
                <a:srgbClr val="E6E5E5"/>
              </a:solidFill>
            </c:spPr>
          </c:dPt>
          <c:dPt>
            <c:idx val="15"/>
            <c:spPr>
              <a:solidFill>
                <a:srgbClr val="C00000"/>
              </a:solidFill>
            </c:spPr>
          </c:dPt>
          <c:dPt>
            <c:idx val="16"/>
            <c:spPr>
              <a:solidFill>
                <a:srgbClr val="006C6D"/>
              </a:solidFill>
            </c:spPr>
          </c:dPt>
          <c:dPt>
            <c:idx val="17"/>
            <c:spPr>
              <a:solidFill>
                <a:srgbClr val="C00000"/>
              </a:solidFill>
            </c:spPr>
          </c:dPt>
          <c:dPt>
            <c:idx val="18"/>
            <c:spPr>
              <a:solidFill>
                <a:srgbClr val="006C6D"/>
              </a:solidFill>
            </c:spPr>
          </c:dPt>
          <c:dLbls>
            <c:dLbl>
              <c:idx val="0"/>
              <c:tx>
                <c:rich>
                  <a:bodyPr/>
                  <a:lstStyle/>
                  <a:p>
                    <a:fld id="{37A625DF-BB8B-4735-BE6F-3B2221058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DD33B90-AB0E-4E85-89EC-AD5CFFCCA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E0A3F19-1423-4573-8497-084901491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F3681CF-04B3-4CA7-B838-FDC464B1E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B98D8F5-D8EE-4BF7-AB1B-CAB1484C8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B59AD78-439B-4450-BC90-5A27296BF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AD9D166-2BB7-4715-8B26-6A5660A89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B57DB3F-9511-4314-8EBE-819E17E5D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0</c:f>
              <c:numCache>
                <c:formatCode>General</c:formatCode>
                <c:ptCount val="19"/>
                <c:pt idx="0">
                  <c:v>2.9994</c:v>
                </c:pt>
                <c:pt idx="1">
                  <c:v>0.8286</c:v>
                </c:pt>
                <c:pt idx="2">
                  <c:v>2.233</c:v>
                </c:pt>
                <c:pt idx="3">
                  <c:v>2.5526</c:v>
                </c:pt>
                <c:pt idx="4">
                  <c:v>0.7997</c:v>
                </c:pt>
                <c:pt idx="5">
                  <c:v>4.7265</c:v>
                </c:pt>
                <c:pt idx="6">
                  <c:v>0.8188</c:v>
                </c:pt>
                <c:pt idx="7">
                  <c:v>1.702</c:v>
                </c:pt>
                <c:pt idx="8">
                  <c:v>1.0221</c:v>
                </c:pt>
                <c:pt idx="9">
                  <c:v>1.508</c:v>
                </c:pt>
                <c:pt idx="10">
                  <c:v>2.2174</c:v>
                </c:pt>
                <c:pt idx="11">
                  <c:v>0.9367</c:v>
                </c:pt>
                <c:pt idx="12">
                  <c:v>1.1998</c:v>
                </c:pt>
                <c:pt idx="13">
                  <c:v>0.9698</c:v>
                </c:pt>
                <c:pt idx="14">
                  <c:v>0.351</c:v>
                </c:pt>
                <c:pt idx="15">
                  <c:v>2.5738</c:v>
                </c:pt>
                <c:pt idx="16">
                  <c:v>1.6511</c:v>
                </c:pt>
                <c:pt idx="17">
                  <c:v>1.0566</c:v>
                </c:pt>
                <c:pt idx="18">
                  <c:v>2.0187</c:v>
                </c:pt>
              </c:numCache>
            </c:numRef>
          </c:xVal>
          <c:yVal>
            <c:numRef>
              <c:f>Sheet1!$B$2:$B$20</c:f>
              <c:numCache>
                <c:formatCode>General</c:formatCode>
                <c:ptCount val="19"/>
                <c:pt idx="0">
                  <c:v>0.6078</c:v>
                </c:pt>
                <c:pt idx="1">
                  <c:v>0.3363</c:v>
                </c:pt>
                <c:pt idx="2">
                  <c:v>0.2544</c:v>
                </c:pt>
                <c:pt idx="3">
                  <c:v>0.797</c:v>
                </c:pt>
                <c:pt idx="4">
                  <c:v>0.5237</c:v>
                </c:pt>
                <c:pt idx="5">
                  <c:v>0.3715</c:v>
                </c:pt>
                <c:pt idx="6">
                  <c:v>0.4895</c:v>
                </c:pt>
                <c:pt idx="7">
                  <c:v>0.6948</c:v>
                </c:pt>
                <c:pt idx="8">
                  <c:v>0.6217</c:v>
                </c:pt>
                <c:pt idx="9">
                  <c:v>0.6037</c:v>
                </c:pt>
                <c:pt idx="10">
                  <c:v>0.7142</c:v>
                </c:pt>
                <c:pt idx="11">
                  <c:v>0.6295</c:v>
                </c:pt>
                <c:pt idx="12">
                  <c:v>0.7271</c:v>
                </c:pt>
                <c:pt idx="13">
                  <c:v>0.6514</c:v>
                </c:pt>
                <c:pt idx="14">
                  <c:v>0.7677</c:v>
                </c:pt>
                <c:pt idx="15">
                  <c:v>0.7947</c:v>
                </c:pt>
                <c:pt idx="16">
                  <c:v>0.6903</c:v>
                </c:pt>
                <c:pt idx="17">
                  <c:v>0.6351</c:v>
                </c:pt>
                <c:pt idx="18">
                  <c:v>0.5305</c:v>
                </c:pt>
              </c:numCache>
            </c:numRef>
          </c:yVal>
          <c:bubbleSize>
            <c:numRef>
              <c:f>Sheet1!$C$2:$C$20</c:f>
              <c:numCache>
                <c:formatCode>General</c:formatCode>
                <c:ptCount val="19"/>
                <c:pt idx="0">
                  <c:v>2069.6072</c:v>
                </c:pt>
                <c:pt idx="1">
                  <c:v>836275.5084</c:v>
                </c:pt>
                <c:pt idx="2">
                  <c:v>1055523.5942</c:v>
                </c:pt>
                <c:pt idx="3">
                  <c:v>1733.2224</c:v>
                </c:pt>
                <c:pt idx="4">
                  <c:v>1682330.8057000001</c:v>
                </c:pt>
                <c:pt idx="5">
                  <c:v>55007.155300000006</c:v>
                </c:pt>
                <c:pt idx="6">
                  <c:v>265583.5182</c:v>
                </c:pt>
                <c:pt idx="7">
                  <c:v>2525616.0185</c:v>
                </c:pt>
                <c:pt idx="8">
                  <c:v>2189858.2104</c:v>
                </c:pt>
                <c:pt idx="9">
                  <c:v>72621.1476</c:v>
                </c:pt>
                <c:pt idx="10">
                  <c:v>27404.9312</c:v>
                </c:pt>
                <c:pt idx="11">
                  <c:v>336996.18600000005</c:v>
                </c:pt>
                <c:pt idx="12">
                  <c:v>69360.26759999999</c:v>
                </c:pt>
                <c:pt idx="13">
                  <c:v>2631441.1776000005</c:v>
                </c:pt>
                <c:pt idx="14">
                  <c:v>2717686.2454</c:v>
                </c:pt>
                <c:pt idx="15">
                  <c:v>6169.4464</c:v>
                </c:pt>
                <c:pt idx="16">
                  <c:v>3125406.0482</c:v>
                </c:pt>
                <c:pt idx="17">
                  <c:v>302112.82920000004</c:v>
                </c:pt>
                <c:pt idx="18">
                  <c:v>2189444.76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710826169993"/>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64669087461575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2CD0B55-9F5D-41F4-847A-074DA880A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A9266A9-ED31-408B-96E4-4F13A2C85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4A96AA9-B525-402A-BB28-F05040A61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F577AB1-3C66-470F-A78F-F62F33F0D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AD4FC29-17CE-406F-B481-1045F6A0B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B9DBA80-38AA-4737-B4DE-7DD8955C1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3F0E59C-5FFF-4389-BE11-52E75A2AE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F469D6A-1BB5-40C9-A2B7-9D6788684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9444</c:v>
                </c:pt>
                <c:pt idx="1">
                  <c:v>2.1592</c:v>
                </c:pt>
                <c:pt idx="2">
                  <c:v>0.7653</c:v>
                </c:pt>
                <c:pt idx="3">
                  <c:v>0.9762</c:v>
                </c:pt>
                <c:pt idx="4">
                  <c:v>0.4494</c:v>
                </c:pt>
                <c:pt idx="5">
                  <c:v>0.4128</c:v>
                </c:pt>
                <c:pt idx="6">
                  <c:v>0.1407</c:v>
                </c:pt>
                <c:pt idx="7">
                  <c:v>0.1083</c:v>
                </c:pt>
                <c:pt idx="8">
                  <c:v>1.1418</c:v>
                </c:pt>
                <c:pt idx="9">
                  <c:v>1.275</c:v>
                </c:pt>
              </c:numCache>
            </c:numRef>
          </c:xVal>
          <c:yVal>
            <c:numRef>
              <c:f>Sheet1!$B$2:$B$11</c:f>
              <c:numCache>
                <c:formatCode>General</c:formatCode>
                <c:ptCount val="10"/>
                <c:pt idx="0">
                  <c:v>0.4911</c:v>
                </c:pt>
                <c:pt idx="1">
                  <c:v>0.4198</c:v>
                </c:pt>
                <c:pt idx="2">
                  <c:v>0.4934</c:v>
                </c:pt>
                <c:pt idx="3">
                  <c:v>0.6837</c:v>
                </c:pt>
                <c:pt idx="4">
                  <c:v>0.4798</c:v>
                </c:pt>
                <c:pt idx="5">
                  <c:v>0.5166</c:v>
                </c:pt>
                <c:pt idx="6">
                  <c:v>0.0104</c:v>
                </c:pt>
                <c:pt idx="7">
                  <c:v>-0.0026</c:v>
                </c:pt>
                <c:pt idx="8">
                  <c:v>0.7091</c:v>
                </c:pt>
                <c:pt idx="9">
                  <c:v>0.7317</c:v>
                </c:pt>
              </c:numCache>
            </c:numRef>
          </c:yVal>
          <c:bubbleSize>
            <c:numRef>
              <c:f>Sheet1!$C$2:$C$11</c:f>
              <c:numCache>
                <c:formatCode>General</c:formatCode>
                <c:ptCount val="10"/>
                <c:pt idx="0">
                  <c:v>3936071.3594</c:v>
                </c:pt>
                <c:pt idx="1">
                  <c:v>1046552.1158</c:v>
                </c:pt>
                <c:pt idx="2">
                  <c:v>1549808.4677999998</c:v>
                </c:pt>
                <c:pt idx="3">
                  <c:v>365615.01729999995</c:v>
                </c:pt>
                <c:pt idx="4">
                  <c:v>1407622.4700999998</c:v>
                </c:pt>
                <c:pt idx="5">
                  <c:v>1730514.1759000001</c:v>
                </c:pt>
                <c:pt idx="6">
                  <c:v>1029392.1368000001</c:v>
                </c:pt>
                <c:pt idx="7">
                  <c:v>1937934.2558000002</c:v>
                </c:pt>
                <c:pt idx="8">
                  <c:v>1171834.1069</c:v>
                </c:pt>
                <c:pt idx="9">
                  <c:v>2266539.603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60185684373"/>
        <c:crossBetween val="midCat"/>
      </c:valAx>
      <c:valAx>
        <c:axId val="1011451359"/>
        <c:scaling>
          <c:orientation val="minMax"/>
          <c:max val="1.23804"/>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799730976610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C00000"/>
              </a:solidFill>
            </c:spPr>
          </c:dPt>
          <c:dPt>
            <c:idx val="14"/>
            <c:spPr>
              <a:solidFill>
                <a:srgbClr val="E6E5E5"/>
              </a:solidFill>
            </c:spPr>
          </c:dPt>
          <c:dPt>
            <c:idx val="15"/>
            <c:spPr>
              <a:solidFill>
                <a:srgbClr val="C00000"/>
              </a:solidFill>
            </c:spPr>
          </c:dPt>
          <c:dPt>
            <c:idx val="16"/>
            <c:spPr>
              <a:solidFill>
                <a:srgbClr val="006C6D"/>
              </a:solidFill>
            </c:spPr>
          </c:dPt>
          <c:dPt>
            <c:idx val="17"/>
            <c:spPr>
              <a:solidFill>
                <a:srgbClr val="C00000"/>
              </a:solidFill>
            </c:spPr>
          </c:dPt>
          <c:dPt>
            <c:idx val="18"/>
            <c:spPr>
              <a:solidFill>
                <a:srgbClr val="006C6D"/>
              </a:solidFill>
            </c:spPr>
          </c:dPt>
          <c:dLbls>
            <c:dLbl>
              <c:idx val="0"/>
              <c:tx>
                <c:rich>
                  <a:bodyPr/>
                  <a:lstStyle/>
                  <a:p>
                    <a:fld id="{0A986D1E-E88C-4989-A451-6202840CD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BC15C9F-5E7E-4DB5-93C0-D7EB92913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333C658-244E-45D3-A07F-F9EAD5D45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3644A10-1700-417C-B561-265CD31FB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4F3D98F-B83E-47E6-B0AB-0968E6BBB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698DE53-5627-43B6-B549-B8FE37678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F92743E-9CA4-4C04-B73E-798BE7E69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8B21A23-9E31-4D98-8ACE-151CA1604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0</c:f>
              <c:numCache>
                <c:formatCode>General</c:formatCode>
                <c:ptCount val="19"/>
                <c:pt idx="0">
                  <c:v>2.9938</c:v>
                </c:pt>
                <c:pt idx="1">
                  <c:v>0.8286</c:v>
                </c:pt>
                <c:pt idx="2">
                  <c:v>2.233</c:v>
                </c:pt>
                <c:pt idx="3">
                  <c:v>2.5531</c:v>
                </c:pt>
                <c:pt idx="4">
                  <c:v>0.7997</c:v>
                </c:pt>
                <c:pt idx="5">
                  <c:v>4.7263</c:v>
                </c:pt>
                <c:pt idx="6">
                  <c:v>0.8188</c:v>
                </c:pt>
                <c:pt idx="7">
                  <c:v>1.702</c:v>
                </c:pt>
                <c:pt idx="8">
                  <c:v>1.0221</c:v>
                </c:pt>
                <c:pt idx="9">
                  <c:v>1.5077</c:v>
                </c:pt>
                <c:pt idx="10">
                  <c:v>2.2102</c:v>
                </c:pt>
                <c:pt idx="11">
                  <c:v>0.9366</c:v>
                </c:pt>
                <c:pt idx="12">
                  <c:v>1.1994</c:v>
                </c:pt>
                <c:pt idx="13">
                  <c:v>0.9699</c:v>
                </c:pt>
                <c:pt idx="14">
                  <c:v>0.351</c:v>
                </c:pt>
                <c:pt idx="15">
                  <c:v>2.5646</c:v>
                </c:pt>
                <c:pt idx="16">
                  <c:v>1.6512</c:v>
                </c:pt>
                <c:pt idx="17">
                  <c:v>1.0565</c:v>
                </c:pt>
                <c:pt idx="18">
                  <c:v>2.0186</c:v>
                </c:pt>
              </c:numCache>
            </c:numRef>
          </c:xVal>
          <c:yVal>
            <c:numRef>
              <c:f>Sheet1!$B$2:$B$20</c:f>
              <c:numCache>
                <c:formatCode>General</c:formatCode>
                <c:ptCount val="19"/>
                <c:pt idx="0">
                  <c:v>0.6078</c:v>
                </c:pt>
                <c:pt idx="1">
                  <c:v>0.3363</c:v>
                </c:pt>
                <c:pt idx="2">
                  <c:v>0.2544</c:v>
                </c:pt>
                <c:pt idx="3">
                  <c:v>0.797</c:v>
                </c:pt>
                <c:pt idx="4">
                  <c:v>0.5238</c:v>
                </c:pt>
                <c:pt idx="5">
                  <c:v>0.3715</c:v>
                </c:pt>
                <c:pt idx="6">
                  <c:v>0.4895</c:v>
                </c:pt>
                <c:pt idx="7">
                  <c:v>0.6948</c:v>
                </c:pt>
                <c:pt idx="8">
                  <c:v>0.6218</c:v>
                </c:pt>
                <c:pt idx="9">
                  <c:v>0.6037</c:v>
                </c:pt>
                <c:pt idx="10">
                  <c:v>0.7136</c:v>
                </c:pt>
                <c:pt idx="11">
                  <c:v>0.6295</c:v>
                </c:pt>
                <c:pt idx="12">
                  <c:v>0.7271</c:v>
                </c:pt>
                <c:pt idx="13">
                  <c:v>0.6515</c:v>
                </c:pt>
                <c:pt idx="14">
                  <c:v>0.7677</c:v>
                </c:pt>
                <c:pt idx="15">
                  <c:v>0.7947</c:v>
                </c:pt>
                <c:pt idx="16">
                  <c:v>0.6903</c:v>
                </c:pt>
                <c:pt idx="17">
                  <c:v>0.6351</c:v>
                </c:pt>
                <c:pt idx="18">
                  <c:v>0.5305</c:v>
                </c:pt>
              </c:numCache>
            </c:numRef>
          </c:yVal>
          <c:bubbleSize>
            <c:numRef>
              <c:f>Sheet1!$C$2:$C$20</c:f>
              <c:numCache>
                <c:formatCode>General</c:formatCode>
                <c:ptCount val="19"/>
                <c:pt idx="0">
                  <c:v>2502.780799999999</c:v>
                </c:pt>
                <c:pt idx="1">
                  <c:v>838701.6858000001</c:v>
                </c:pt>
                <c:pt idx="2">
                  <c:v>1058631.9766</c:v>
                </c:pt>
                <c:pt idx="3">
                  <c:v>1764.1728</c:v>
                </c:pt>
                <c:pt idx="4">
                  <c:v>1920827.2086</c:v>
                </c:pt>
                <c:pt idx="5">
                  <c:v>56493.2378</c:v>
                </c:pt>
                <c:pt idx="6">
                  <c:v>301018.2378</c:v>
                </c:pt>
                <c:pt idx="7">
                  <c:v>2654418.0468999995</c:v>
                </c:pt>
                <c:pt idx="8">
                  <c:v>2551270.2802000004</c:v>
                </c:pt>
                <c:pt idx="9">
                  <c:v>75862.37519999998</c:v>
                </c:pt>
                <c:pt idx="10">
                  <c:v>28272.3697</c:v>
                </c:pt>
                <c:pt idx="11">
                  <c:v>390839.139</c:v>
                </c:pt>
                <c:pt idx="12">
                  <c:v>72733.44779999998</c:v>
                </c:pt>
                <c:pt idx="13">
                  <c:v>3101731.2096000006</c:v>
                </c:pt>
                <c:pt idx="14">
                  <c:v>3200726.89</c:v>
                </c:pt>
                <c:pt idx="15">
                  <c:v>8139.9552</c:v>
                </c:pt>
                <c:pt idx="16">
                  <c:v>3648181.7446000013</c:v>
                </c:pt>
                <c:pt idx="17">
                  <c:v>350237.70730000007</c:v>
                </c:pt>
                <c:pt idx="18">
                  <c:v>2538781.9903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310142934516"/>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201916503722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BD26412-B9D8-4E33-AB1F-7364537CD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FB01F4B-B079-45C2-BF82-ED512EF51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DE7B8A1-BF49-4727-84AE-9111CE8AC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D0AF35D-1758-4328-8F3A-D31BEE7F0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FCF0A47-6180-4BEB-AB43-083208715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FB2B4C6-2108-4465-AA9D-E129A9F6A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465273F-56D4-47A4-93E7-B27FC96DF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BBE236E-7375-40D0-B9B0-20401893E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0.916</c:v>
                </c:pt>
                <c:pt idx="1">
                  <c:v>0.9444</c:v>
                </c:pt>
                <c:pt idx="2">
                  <c:v>2.1591</c:v>
                </c:pt>
                <c:pt idx="3">
                  <c:v>0.7653</c:v>
                </c:pt>
                <c:pt idx="4">
                  <c:v>0.9761</c:v>
                </c:pt>
                <c:pt idx="5">
                  <c:v>0.4494</c:v>
                </c:pt>
                <c:pt idx="6">
                  <c:v>0.4128</c:v>
                </c:pt>
                <c:pt idx="7">
                  <c:v>0.1407</c:v>
                </c:pt>
                <c:pt idx="8">
                  <c:v>0.1083</c:v>
                </c:pt>
                <c:pt idx="9">
                  <c:v>1.1417</c:v>
                </c:pt>
                <c:pt idx="10">
                  <c:v>1.275</c:v>
                </c:pt>
              </c:numCache>
            </c:numRef>
          </c:xVal>
          <c:yVal>
            <c:numRef>
              <c:f>Sheet1!$B$2:$B$12</c:f>
              <c:numCache>
                <c:formatCode>General</c:formatCode>
                <c:ptCount val="11"/>
                <c:pt idx="0">
                  <c:v>0.7386</c:v>
                </c:pt>
                <c:pt idx="1">
                  <c:v>0.4911</c:v>
                </c:pt>
                <c:pt idx="2">
                  <c:v>0.4198</c:v>
                </c:pt>
                <c:pt idx="3">
                  <c:v>0.4934</c:v>
                </c:pt>
                <c:pt idx="4">
                  <c:v>0.6837</c:v>
                </c:pt>
                <c:pt idx="5">
                  <c:v>0.4797</c:v>
                </c:pt>
                <c:pt idx="6">
                  <c:v>0.5165</c:v>
                </c:pt>
                <c:pt idx="7">
                  <c:v>0.0105</c:v>
                </c:pt>
                <c:pt idx="8">
                  <c:v>-0.0026</c:v>
                </c:pt>
                <c:pt idx="9">
                  <c:v>0.7091</c:v>
                </c:pt>
                <c:pt idx="10">
                  <c:v>0.7317</c:v>
                </c:pt>
              </c:numCache>
            </c:numRef>
          </c:yVal>
          <c:bubbleSize>
            <c:numRef>
              <c:f>Sheet1!$C$2:$C$12</c:f>
              <c:numCache>
                <c:formatCode>General</c:formatCode>
                <c:ptCount val="11"/>
                <c:pt idx="0">
                  <c:v>1094.5674000000001</c:v>
                </c:pt>
                <c:pt idx="1">
                  <c:v>4518773.504</c:v>
                </c:pt>
                <c:pt idx="2">
                  <c:v>1214691.3791000003</c:v>
                </c:pt>
                <c:pt idx="3">
                  <c:v>1798622.3696</c:v>
                </c:pt>
                <c:pt idx="4">
                  <c:v>423999.0885</c:v>
                </c:pt>
                <c:pt idx="5">
                  <c:v>1614221.3449</c:v>
                </c:pt>
                <c:pt idx="6">
                  <c:v>1997336.7136000004</c:v>
                </c:pt>
                <c:pt idx="7">
                  <c:v>1228819.4014</c:v>
                </c:pt>
                <c:pt idx="8">
                  <c:v>2298580.1270000003</c:v>
                </c:pt>
                <c:pt idx="9">
                  <c:v>1343734.6551</c:v>
                </c:pt>
                <c:pt idx="10">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99809098249"/>
        <c:crossBetween val="midCat"/>
      </c:valAx>
      <c:valAx>
        <c:axId val="1011451359"/>
        <c:scaling>
          <c:orientation val="minMax"/>
          <c:max val="1.2463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448526485009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8202222-1C6A-4B65-BFC0-93474975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067B612-EA57-4A42-9DA5-C1568A4F7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A5553CF-60F3-444E-A553-570249EF8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EE97FB-6268-4B5B-9CB1-0814AC999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24A0009-6C88-473A-87C3-B4641B834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2339D51-F1CF-47C9-A9D2-48C4DB80D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FF7B6FE-31F2-475F-B5A6-1696FA1ED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D654A3D-14F8-452D-9ECC-7B1EAE8F4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0.8004</c:v>
                </c:pt>
                <c:pt idx="1">
                  <c:v>0.8183</c:v>
                </c:pt>
                <c:pt idx="2">
                  <c:v>1.6443</c:v>
                </c:pt>
                <c:pt idx="3">
                  <c:v>1.0227</c:v>
                </c:pt>
                <c:pt idx="4">
                  <c:v>0.9362</c:v>
                </c:pt>
                <c:pt idx="5">
                  <c:v>0.9706</c:v>
                </c:pt>
                <c:pt idx="6">
                  <c:v>0.3509</c:v>
                </c:pt>
                <c:pt idx="7">
                  <c:v>2.5353</c:v>
                </c:pt>
                <c:pt idx="8">
                  <c:v>1.6498</c:v>
                </c:pt>
                <c:pt idx="9">
                  <c:v>1.0563</c:v>
                </c:pt>
                <c:pt idx="10">
                  <c:v>2.0186</c:v>
                </c:pt>
              </c:numCache>
            </c:numRef>
          </c:xVal>
          <c:yVal>
            <c:numRef>
              <c:f>Sheet1!$B$2:$B$12</c:f>
              <c:numCache>
                <c:formatCode>General</c:formatCode>
                <c:ptCount val="11"/>
                <c:pt idx="0">
                  <c:v>0.5245</c:v>
                </c:pt>
                <c:pt idx="1">
                  <c:v>0.4895</c:v>
                </c:pt>
                <c:pt idx="2">
                  <c:v>0.6969</c:v>
                </c:pt>
                <c:pt idx="3">
                  <c:v>0.622</c:v>
                </c:pt>
                <c:pt idx="4">
                  <c:v>0.6295</c:v>
                </c:pt>
                <c:pt idx="5">
                  <c:v>0.6518</c:v>
                </c:pt>
                <c:pt idx="6">
                  <c:v>0.7677</c:v>
                </c:pt>
                <c:pt idx="7">
                  <c:v>0.7947</c:v>
                </c:pt>
                <c:pt idx="8">
                  <c:v>0.6902</c:v>
                </c:pt>
                <c:pt idx="9">
                  <c:v>0.6351</c:v>
                </c:pt>
                <c:pt idx="10">
                  <c:v>0.5307</c:v>
                </c:pt>
              </c:numCache>
            </c:numRef>
          </c:yVal>
          <c:bubbleSize>
            <c:numRef>
              <c:f>Sheet1!$C$2:$C$12</c:f>
              <c:numCache>
                <c:formatCode>General</c:formatCode>
                <c:ptCount val="11"/>
                <c:pt idx="0">
                  <c:v>93532.5477</c:v>
                </c:pt>
                <c:pt idx="1">
                  <c:v>11674.0008</c:v>
                </c:pt>
                <c:pt idx="2">
                  <c:v>1141.1115999999997</c:v>
                </c:pt>
                <c:pt idx="3">
                  <c:v>181395.7701</c:v>
                </c:pt>
                <c:pt idx="4">
                  <c:v>25231.624600000003</c:v>
                </c:pt>
                <c:pt idx="5">
                  <c:v>230309.5296</c:v>
                </c:pt>
                <c:pt idx="6">
                  <c:v>219178.043</c:v>
                </c:pt>
                <c:pt idx="7">
                  <c:v>1341.184</c:v>
                </c:pt>
                <c:pt idx="8">
                  <c:v>278077.10880000005</c:v>
                </c:pt>
                <c:pt idx="9">
                  <c:v>24732.3076</c:v>
                </c:pt>
                <c:pt idx="10">
                  <c:v>175947.76450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4236"/>
          <c:min val="0.280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6425130105383"/>
        <c:crossBetween val="midCat"/>
      </c:valAx>
      <c:valAx>
        <c:axId val="1011451359"/>
        <c:scaling>
          <c:orientation val="minMax"/>
          <c:max val="1.31364"/>
          <c:min val="0.151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5836626317604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EAA5527-6936-4539-A302-2F88842BC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EF6353A-2B3F-400A-80C9-C7B5C85EA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8E3AF56-2776-4A0E-821E-B4004DA1E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5F87F08-E4DC-4EEE-9A1E-1E637E0DA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3D1DE17-4353-4879-A332-B1F4E3218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D5DFCB1-9943-4ABA-B951-2E1FA6A4C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0B6E2CD-F011-414D-B61D-12712687C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9BBE9A7-3D71-495E-A0AC-97A3D594A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9444</c:v>
                </c:pt>
                <c:pt idx="1">
                  <c:v>2.1589</c:v>
                </c:pt>
                <c:pt idx="2">
                  <c:v>0.7653</c:v>
                </c:pt>
                <c:pt idx="3">
                  <c:v>0.9758</c:v>
                </c:pt>
                <c:pt idx="4">
                  <c:v>0.4494</c:v>
                </c:pt>
                <c:pt idx="5">
                  <c:v>0.4127</c:v>
                </c:pt>
                <c:pt idx="6">
                  <c:v>0.1407</c:v>
                </c:pt>
                <c:pt idx="7">
                  <c:v>0.1083</c:v>
                </c:pt>
                <c:pt idx="8">
                  <c:v>1.1412</c:v>
                </c:pt>
                <c:pt idx="9">
                  <c:v>1.2748</c:v>
                </c:pt>
              </c:numCache>
            </c:numRef>
          </c:xVal>
          <c:yVal>
            <c:numRef>
              <c:f>Sheet1!$B$2:$B$11</c:f>
              <c:numCache>
                <c:formatCode>General</c:formatCode>
                <c:ptCount val="10"/>
                <c:pt idx="0">
                  <c:v>0.4909</c:v>
                </c:pt>
                <c:pt idx="1">
                  <c:v>0.4199</c:v>
                </c:pt>
                <c:pt idx="2">
                  <c:v>0.4936</c:v>
                </c:pt>
                <c:pt idx="3">
                  <c:v>0.6837</c:v>
                </c:pt>
                <c:pt idx="4">
                  <c:v>0.4789</c:v>
                </c:pt>
                <c:pt idx="5">
                  <c:v>0.5158</c:v>
                </c:pt>
                <c:pt idx="6">
                  <c:v>0.012</c:v>
                </c:pt>
                <c:pt idx="7">
                  <c:v>-0.0022</c:v>
                </c:pt>
                <c:pt idx="8">
                  <c:v>0.7091</c:v>
                </c:pt>
                <c:pt idx="9">
                  <c:v>0.7318</c:v>
                </c:pt>
              </c:numCache>
            </c:numRef>
          </c:yVal>
          <c:bubbleSize>
            <c:numRef>
              <c:f>Sheet1!$C$2:$C$11</c:f>
              <c:numCache>
                <c:formatCode>General</c:formatCode>
                <c:ptCount val="10"/>
                <c:pt idx="0">
                  <c:v>272475.62769999995</c:v>
                </c:pt>
                <c:pt idx="1">
                  <c:v>89489.17039999997</c:v>
                </c:pt>
                <c:pt idx="2">
                  <c:v>119428.28789999997</c:v>
                </c:pt>
                <c:pt idx="3">
                  <c:v>28301.748799999998</c:v>
                </c:pt>
                <c:pt idx="4">
                  <c:v>106130.8149</c:v>
                </c:pt>
                <c:pt idx="5">
                  <c:v>125001.9619</c:v>
                </c:pt>
                <c:pt idx="6">
                  <c:v>114348.92439999997</c:v>
                </c:pt>
                <c:pt idx="7">
                  <c:v>174687.4378</c:v>
                </c:pt>
                <c:pt idx="8">
                  <c:v>86297.40030000001</c:v>
                </c:pt>
                <c:pt idx="9">
                  <c:v>182797.47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7989829935803"/>
        <c:crossBetween val="midCat"/>
      </c:valAx>
      <c:valAx>
        <c:axId val="1011451359"/>
        <c:scaling>
          <c:orientation val="minMax"/>
          <c:max val="1.2381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97056292307247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09A3448-DF6D-4133-8DE8-6488EEE9E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5E563CE-C89A-472D-87A9-9BBF5C368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0E502CC-297F-4B86-B012-EE6FDA589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941645D-DD4F-4667-9ACB-D047BBCC4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D098523-E0A8-4F50-8BA9-A7753D832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7F5C570-5495-4B5E-BF7E-AE54B9099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A0A2A98-21AD-4063-97E2-99783DA99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CB0B0AC-7C9A-4777-ADE4-8608553A6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2.9994</c:v>
                </c:pt>
                <c:pt idx="1">
                  <c:v>2.233</c:v>
                </c:pt>
                <c:pt idx="2">
                  <c:v>2.5526</c:v>
                </c:pt>
                <c:pt idx="3">
                  <c:v>4.7265</c:v>
                </c:pt>
                <c:pt idx="4">
                  <c:v>1.702</c:v>
                </c:pt>
                <c:pt idx="5">
                  <c:v>1.508</c:v>
                </c:pt>
                <c:pt idx="6">
                  <c:v>2.2174</c:v>
                </c:pt>
                <c:pt idx="7">
                  <c:v>1.1998</c:v>
                </c:pt>
                <c:pt idx="8">
                  <c:v>2.5738</c:v>
                </c:pt>
                <c:pt idx="9">
                  <c:v>1.6511</c:v>
                </c:pt>
                <c:pt idx="10">
                  <c:v>2.0187</c:v>
                </c:pt>
              </c:numCache>
            </c:numRef>
          </c:xVal>
          <c:yVal>
            <c:numRef>
              <c:f>Sheet1!$B$2:$B$12</c:f>
              <c:numCache>
                <c:formatCode>General</c:formatCode>
                <c:ptCount val="11"/>
                <c:pt idx="0">
                  <c:v>0.6078</c:v>
                </c:pt>
                <c:pt idx="1">
                  <c:v>0.2544</c:v>
                </c:pt>
                <c:pt idx="2">
                  <c:v>0.797</c:v>
                </c:pt>
                <c:pt idx="3">
                  <c:v>0.3715</c:v>
                </c:pt>
                <c:pt idx="4">
                  <c:v>0.6948</c:v>
                </c:pt>
                <c:pt idx="5">
                  <c:v>0.6037</c:v>
                </c:pt>
                <c:pt idx="6">
                  <c:v>0.7142</c:v>
                </c:pt>
                <c:pt idx="7">
                  <c:v>0.7271</c:v>
                </c:pt>
                <c:pt idx="8">
                  <c:v>0.7947</c:v>
                </c:pt>
                <c:pt idx="9">
                  <c:v>0.6903</c:v>
                </c:pt>
                <c:pt idx="10">
                  <c:v>0.5305</c:v>
                </c:pt>
              </c:numCache>
            </c:numRef>
          </c:yVal>
          <c:bubbleSize>
            <c:numRef>
              <c:f>Sheet1!$C$2:$C$12</c:f>
              <c:numCache>
                <c:formatCode>General</c:formatCode>
                <c:ptCount val="11"/>
                <c:pt idx="0">
                  <c:v>2069.6072</c:v>
                </c:pt>
                <c:pt idx="1">
                  <c:v>1055523.5942</c:v>
                </c:pt>
                <c:pt idx="2">
                  <c:v>1733.2224</c:v>
                </c:pt>
                <c:pt idx="3">
                  <c:v>55007.155300000006</c:v>
                </c:pt>
                <c:pt idx="4">
                  <c:v>2525616.0185</c:v>
                </c:pt>
                <c:pt idx="5">
                  <c:v>72621.1476</c:v>
                </c:pt>
                <c:pt idx="6">
                  <c:v>27404.9312</c:v>
                </c:pt>
                <c:pt idx="7">
                  <c:v>69360.26759999999</c:v>
                </c:pt>
                <c:pt idx="8">
                  <c:v>6169.4464</c:v>
                </c:pt>
                <c:pt idx="9">
                  <c:v>3125406.0482</c:v>
                </c:pt>
                <c:pt idx="10">
                  <c:v>2189444.76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0.959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06462918824268"/>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3736244520592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9222F1F-FF9F-4D49-A541-86AECE809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58A1962-3F61-44D0-92DD-37C1EFF1A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AB2A5D8-B6B7-4B73-96CA-560B3F8DC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AB3D570-5A43-435F-96F5-D5339D0DA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FBC031C-0EFF-4687-B0AB-2954E3B64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81C40A2-CF7E-47C5-912B-87DE8D260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85D7318-C7BD-4BA9-A604-3F26586CD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E08E4A5-2B7A-4F52-8EF2-BE682002E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592</c:v>
                </c:pt>
                <c:pt idx="1">
                  <c:v>0.9762</c:v>
                </c:pt>
                <c:pt idx="2">
                  <c:v>1.1418</c:v>
                </c:pt>
                <c:pt idx="3">
                  <c:v>1.275</c:v>
                </c:pt>
              </c:numCache>
            </c:numRef>
          </c:xVal>
          <c:yVal>
            <c:numRef>
              <c:f>Sheet1!$B$2:$B$5</c:f>
              <c:numCache>
                <c:formatCode>General</c:formatCode>
                <c:ptCount val="4"/>
                <c:pt idx="0">
                  <c:v>0.4198</c:v>
                </c:pt>
                <c:pt idx="1">
                  <c:v>0.6837</c:v>
                </c:pt>
                <c:pt idx="2">
                  <c:v>0.7091</c:v>
                </c:pt>
                <c:pt idx="3">
                  <c:v>0.7317</c:v>
                </c:pt>
              </c:numCache>
            </c:numRef>
          </c:yVal>
          <c:bubbleSize>
            <c:numRef>
              <c:f>Sheet1!$C$2:$C$5</c:f>
              <c:numCache>
                <c:formatCode>General</c:formatCode>
                <c:ptCount val="4"/>
                <c:pt idx="0">
                  <c:v>1046552.1158</c:v>
                </c:pt>
                <c:pt idx="1">
                  <c:v>365615.01729999995</c:v>
                </c:pt>
                <c:pt idx="2">
                  <c:v>1171834.1069</c:v>
                </c:pt>
                <c:pt idx="3">
                  <c:v>2266539.603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0.7809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53265421698722"/>
        <c:crossBetween val="midCat"/>
      </c:valAx>
      <c:valAx>
        <c:axId val="1011451359"/>
        <c:scaling>
          <c:orientation val="minMax"/>
          <c:max val="1.23804"/>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1072931220961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6E22E2F-7616-4C6C-90B8-DE0BE331F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4FA3D69-F316-4905-A9BE-DF5B42A31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51B31FB-2F6C-4101-9140-4807BFC3D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5B583A0-0EC0-4447-99EE-D5EFB99ED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19B437A-C954-4D13-A04E-DCC4ABC56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0BC74CF-D829-4039-BE23-8C98F03E9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50F2271-BF6C-44C3-A6B0-224299776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F033A36-6CF8-46CE-99A6-550063C45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443</c:v>
                </c:pt>
                <c:pt idx="1">
                  <c:v>2.5353</c:v>
                </c:pt>
                <c:pt idx="2">
                  <c:v>1.6498</c:v>
                </c:pt>
                <c:pt idx="3">
                  <c:v>2.0186</c:v>
                </c:pt>
              </c:numCache>
            </c:numRef>
          </c:xVal>
          <c:yVal>
            <c:numRef>
              <c:f>Sheet1!$B$2:$B$5</c:f>
              <c:numCache>
                <c:formatCode>General</c:formatCode>
                <c:ptCount val="4"/>
                <c:pt idx="0">
                  <c:v>0.6969</c:v>
                </c:pt>
                <c:pt idx="1">
                  <c:v>0.7947</c:v>
                </c:pt>
                <c:pt idx="2">
                  <c:v>0.6902</c:v>
                </c:pt>
                <c:pt idx="3">
                  <c:v>0.5307</c:v>
                </c:pt>
              </c:numCache>
            </c:numRef>
          </c:yVal>
          <c:bubbleSize>
            <c:numRef>
              <c:f>Sheet1!$C$2:$C$5</c:f>
              <c:numCache>
                <c:formatCode>General</c:formatCode>
                <c:ptCount val="4"/>
                <c:pt idx="0">
                  <c:v>1141.1115999999997</c:v>
                </c:pt>
                <c:pt idx="1">
                  <c:v>1341.184</c:v>
                </c:pt>
                <c:pt idx="2">
                  <c:v>278077.10880000005</c:v>
                </c:pt>
                <c:pt idx="3">
                  <c:v>175947.76450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4236"/>
          <c:min val="1.31544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0490013655293"/>
        <c:crossBetween val="midCat"/>
      </c:valAx>
      <c:valAx>
        <c:axId val="1011451359"/>
        <c:scaling>
          <c:orientation val="minMax"/>
          <c:max val="1.31364"/>
          <c:min val="0.1845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9453130405597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F491CCC-B51A-4173-908E-F57F3D03B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B16B1BF-FB84-4340-801A-4445F6CB4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1AC0A01-7E3B-4CE4-B22B-F72539810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EF218AE-8665-4802-A391-90279CCD9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7C1881F-882F-49E4-AFE5-856670FAA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BF0EA17-FBC0-4DB2-82E8-F8456A6C4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3255005-41F5-4EBD-8CCE-1F9B5A2E2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3767ABE-47BB-419E-91A4-1F7601D61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589</c:v>
                </c:pt>
                <c:pt idx="1">
                  <c:v>0.9758</c:v>
                </c:pt>
                <c:pt idx="2">
                  <c:v>1.1412</c:v>
                </c:pt>
                <c:pt idx="3">
                  <c:v>1.2748</c:v>
                </c:pt>
              </c:numCache>
            </c:numRef>
          </c:xVal>
          <c:yVal>
            <c:numRef>
              <c:f>Sheet1!$B$2:$B$5</c:f>
              <c:numCache>
                <c:formatCode>General</c:formatCode>
                <c:ptCount val="4"/>
                <c:pt idx="0">
                  <c:v>0.4199</c:v>
                </c:pt>
                <c:pt idx="1">
                  <c:v>0.6837</c:v>
                </c:pt>
                <c:pt idx="2">
                  <c:v>0.7091</c:v>
                </c:pt>
                <c:pt idx="3">
                  <c:v>0.7318</c:v>
                </c:pt>
              </c:numCache>
            </c:numRef>
          </c:yVal>
          <c:bubbleSize>
            <c:numRef>
              <c:f>Sheet1!$C$2:$C$5</c:f>
              <c:numCache>
                <c:formatCode>General</c:formatCode>
                <c:ptCount val="4"/>
                <c:pt idx="0">
                  <c:v>89489.17039999997</c:v>
                </c:pt>
                <c:pt idx="1">
                  <c:v>28301.748799999998</c:v>
                </c:pt>
                <c:pt idx="2">
                  <c:v>86297.40030000001</c:v>
                </c:pt>
                <c:pt idx="3">
                  <c:v>182797.47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0.780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10734970506645"/>
        <c:crossBetween val="midCat"/>
      </c:valAx>
      <c:valAx>
        <c:axId val="1011451359"/>
        <c:scaling>
          <c:orientation val="minMax"/>
          <c:max val="1.23816"/>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27624995362093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0F2DDA4-6BE1-4BBA-9704-39AE20914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502CBAA-1AB5-4A40-84F5-CA584BB9F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2723A46-EE51-49C6-935B-0802F180E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4058C70-ACF2-4D79-8A95-CCC579529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DDB3CA6-D69A-477A-859B-50123CBCE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05B43CD-536B-4F4E-8AAA-F0B8FB6C5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E6CA75E-52E2-46F3-BF05-3D10CD421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4E7232D-AFE0-4B7B-BC63-86AD5D4BA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763</c:v>
                </c:pt>
                <c:pt idx="1">
                  <c:v>3.2023</c:v>
                </c:pt>
              </c:numCache>
            </c:numRef>
          </c:xVal>
          <c:yVal>
            <c:numRef>
              <c:f>Sheet1!$B$2:$B$3</c:f>
              <c:numCache>
                <c:formatCode>General</c:formatCode>
                <c:ptCount val="2"/>
                <c:pt idx="0">
                  <c:v>0.639</c:v>
                </c:pt>
                <c:pt idx="1">
                  <c:v>0.4911</c:v>
                </c:pt>
              </c:numCache>
            </c:numRef>
          </c:yVal>
          <c:bubbleSize>
            <c:numRef>
              <c:f>Sheet1!$C$2:$C$3</c:f>
              <c:numCache>
                <c:formatCode>General</c:formatCode>
                <c:ptCount val="2"/>
                <c:pt idx="0">
                  <c:v>556432.6862000002</c:v>
                </c:pt>
                <c:pt idx="1">
                  <c:v>2331.24249999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84276"/>
          <c:min val="1.41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383829401862926"/>
        <c:crossBetween val="midCat"/>
      </c:valAx>
      <c:valAx>
        <c:axId val="1011451359"/>
        <c:scaling>
          <c:orientation val="minMax"/>
          <c:max val="1.1268"/>
          <c:min val="0.1528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6900496409647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E4BAF2F-F817-4AEA-9B7B-977D909E1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611175F-3E69-4214-9B06-C5BD5424E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54FAAAE-3E3F-4FDA-93EF-4C7C7313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025BFA7-108B-4A0F-91C2-BFE64B06C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7C3C28F-5020-4373-9B07-6CF4B9C17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38E9715-EF4E-4685-A98C-D87371090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A54F3C1-2EA3-4764-B961-7054F1BD1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119317E-07B1-4FBB-A801-B1C658FB0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2298</c:v>
                </c:pt>
                <c:pt idx="1">
                  <c:v>4.7177</c:v>
                </c:pt>
                <c:pt idx="2">
                  <c:v>1.7027</c:v>
                </c:pt>
                <c:pt idx="3">
                  <c:v>1.5005</c:v>
                </c:pt>
                <c:pt idx="4">
                  <c:v>1.1915</c:v>
                </c:pt>
                <c:pt idx="5">
                  <c:v>1.6533</c:v>
                </c:pt>
                <c:pt idx="6">
                  <c:v>2.0185</c:v>
                </c:pt>
              </c:numCache>
            </c:numRef>
          </c:xVal>
          <c:yVal>
            <c:numRef>
              <c:f>Sheet1!$B$2:$B$8</c:f>
              <c:numCache>
                <c:formatCode>General</c:formatCode>
                <c:ptCount val="7"/>
                <c:pt idx="0">
                  <c:v>0.2544</c:v>
                </c:pt>
                <c:pt idx="1">
                  <c:v>0.372</c:v>
                </c:pt>
                <c:pt idx="2">
                  <c:v>0.695</c:v>
                </c:pt>
                <c:pt idx="3">
                  <c:v>0.6039</c:v>
                </c:pt>
                <c:pt idx="4">
                  <c:v>0.7269</c:v>
                </c:pt>
                <c:pt idx="5">
                  <c:v>0.6906</c:v>
                </c:pt>
                <c:pt idx="6">
                  <c:v>0.5305</c:v>
                </c:pt>
              </c:numCache>
            </c:numRef>
          </c:yVal>
          <c:bubbleSize>
            <c:numRef>
              <c:f>Sheet1!$C$2:$C$8</c:f>
              <c:numCache>
                <c:formatCode>General</c:formatCode>
                <c:ptCount val="7"/>
                <c:pt idx="0">
                  <c:v>3101.6832999999997</c:v>
                </c:pt>
                <c:pt idx="1">
                  <c:v>1486.0825</c:v>
                </c:pt>
                <c:pt idx="2">
                  <c:v>127660.91679999999</c:v>
                </c:pt>
                <c:pt idx="3">
                  <c:v>3205.0188000000003</c:v>
                </c:pt>
                <c:pt idx="4">
                  <c:v>3367.1780999999996</c:v>
                </c:pt>
                <c:pt idx="5">
                  <c:v>244698.5876</c:v>
                </c:pt>
                <c:pt idx="6">
                  <c:v>173389.46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0.953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382036198901855"/>
        <c:crossBetween val="midCat"/>
      </c:valAx>
      <c:valAx>
        <c:axId val="1011451359"/>
        <c:scaling>
          <c:orientation val="minMax"/>
          <c:max val="1.2322799999999998"/>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8604282333398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69E4E2E-6C9C-4332-976C-CE89E3187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BFDEC94-8211-4AF5-B9F4-C3F6BE098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C0E436C-771F-442A-A0E8-F136A4566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620A14F-94E9-44F2-87C7-62E58B358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FBE5F6F-4837-4F1B-8988-B047C256D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212E996-1FB0-408E-A1B2-BFEE4A5DB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8D8C2FC-E83B-45CD-BE28-FBBE202BC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14D28A5-2B8F-4200-A2B7-296DA6EDC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586</c:v>
                </c:pt>
                <c:pt idx="1">
                  <c:v>0.9755</c:v>
                </c:pt>
                <c:pt idx="2">
                  <c:v>1.1413</c:v>
                </c:pt>
                <c:pt idx="3">
                  <c:v>1.2749</c:v>
                </c:pt>
              </c:numCache>
            </c:numRef>
          </c:xVal>
          <c:yVal>
            <c:numRef>
              <c:f>Sheet1!$B$2:$B$5</c:f>
              <c:numCache>
                <c:formatCode>General</c:formatCode>
                <c:ptCount val="4"/>
                <c:pt idx="0">
                  <c:v>0.4195</c:v>
                </c:pt>
                <c:pt idx="1">
                  <c:v>0.6837</c:v>
                </c:pt>
                <c:pt idx="2">
                  <c:v>0.7091</c:v>
                </c:pt>
                <c:pt idx="3">
                  <c:v>0.7317</c:v>
                </c:pt>
              </c:numCache>
            </c:numRef>
          </c:yVal>
          <c:bubbleSize>
            <c:numRef>
              <c:f>Sheet1!$C$2:$C$5</c:f>
              <c:numCache>
                <c:formatCode>General</c:formatCode>
                <c:ptCount val="4"/>
                <c:pt idx="0">
                  <c:v>78650.09289999999</c:v>
                </c:pt>
                <c:pt idx="1">
                  <c:v>30082.322399999997</c:v>
                </c:pt>
                <c:pt idx="2">
                  <c:v>85603.14790000001</c:v>
                </c:pt>
                <c:pt idx="3">
                  <c:v>162101.8535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0.780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33324092125448"/>
        <c:crossBetween val="midCat"/>
      </c:valAx>
      <c:valAx>
        <c:axId val="1011451359"/>
        <c:scaling>
          <c:orientation val="minMax"/>
          <c:max val="1.23804"/>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5394758164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B929BAF-A2E6-4082-AFD5-2AA8AF326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3FB01D7-D0EF-4780-BB47-AFF0FC834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E29A555-A9A6-47D6-8345-5C9E9C37C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9C08CB3-3229-4EA0-95B4-3621529CA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3FBB866-26A7-42AB-89B8-2FDAE500F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9DB0800-888A-41AB-B2AB-E9E402AEC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C5AAA24-2876-4618-96C9-4789BFF29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CD1700E-08A9-4C14-831B-88D9EEE64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2.9938</c:v>
                </c:pt>
                <c:pt idx="1">
                  <c:v>2.233</c:v>
                </c:pt>
                <c:pt idx="2">
                  <c:v>2.5531</c:v>
                </c:pt>
                <c:pt idx="3">
                  <c:v>4.7263</c:v>
                </c:pt>
                <c:pt idx="4">
                  <c:v>1.702</c:v>
                </c:pt>
                <c:pt idx="5">
                  <c:v>1.5077</c:v>
                </c:pt>
                <c:pt idx="6">
                  <c:v>2.2102</c:v>
                </c:pt>
                <c:pt idx="7">
                  <c:v>1.1994</c:v>
                </c:pt>
                <c:pt idx="8">
                  <c:v>2.5646</c:v>
                </c:pt>
                <c:pt idx="9">
                  <c:v>1.6512</c:v>
                </c:pt>
                <c:pt idx="10">
                  <c:v>2.0186</c:v>
                </c:pt>
              </c:numCache>
            </c:numRef>
          </c:xVal>
          <c:yVal>
            <c:numRef>
              <c:f>Sheet1!$B$2:$B$12</c:f>
              <c:numCache>
                <c:formatCode>General</c:formatCode>
                <c:ptCount val="11"/>
                <c:pt idx="0">
                  <c:v>0.6078</c:v>
                </c:pt>
                <c:pt idx="1">
                  <c:v>0.2544</c:v>
                </c:pt>
                <c:pt idx="2">
                  <c:v>0.797</c:v>
                </c:pt>
                <c:pt idx="3">
                  <c:v>0.3715</c:v>
                </c:pt>
                <c:pt idx="4">
                  <c:v>0.6948</c:v>
                </c:pt>
                <c:pt idx="5">
                  <c:v>0.6037</c:v>
                </c:pt>
                <c:pt idx="6">
                  <c:v>0.7136</c:v>
                </c:pt>
                <c:pt idx="7">
                  <c:v>0.7271</c:v>
                </c:pt>
                <c:pt idx="8">
                  <c:v>0.7947</c:v>
                </c:pt>
                <c:pt idx="9">
                  <c:v>0.6903</c:v>
                </c:pt>
                <c:pt idx="10">
                  <c:v>0.5305</c:v>
                </c:pt>
              </c:numCache>
            </c:numRef>
          </c:yVal>
          <c:bubbleSize>
            <c:numRef>
              <c:f>Sheet1!$C$2:$C$12</c:f>
              <c:numCache>
                <c:formatCode>General</c:formatCode>
                <c:ptCount val="11"/>
                <c:pt idx="0">
                  <c:v>2502.780799999999</c:v>
                </c:pt>
                <c:pt idx="1">
                  <c:v>1058631.9766</c:v>
                </c:pt>
                <c:pt idx="2">
                  <c:v>1764.1728</c:v>
                </c:pt>
                <c:pt idx="3">
                  <c:v>56493.2378</c:v>
                </c:pt>
                <c:pt idx="4">
                  <c:v>2654418.0468999995</c:v>
                </c:pt>
                <c:pt idx="5">
                  <c:v>75862.37519999998</c:v>
                </c:pt>
                <c:pt idx="6">
                  <c:v>28272.3697</c:v>
                </c:pt>
                <c:pt idx="7">
                  <c:v>72733.44779999998</c:v>
                </c:pt>
                <c:pt idx="8">
                  <c:v>8139.9552</c:v>
                </c:pt>
                <c:pt idx="9">
                  <c:v>3648181.7446000013</c:v>
                </c:pt>
                <c:pt idx="10">
                  <c:v>2538781.9903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0.959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39958619178358"/>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3272083003385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6B2C5E8-5FD0-4C5D-9697-DDD02E6D4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F687B1B-71D1-4501-8AEF-9E9A87808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37D3BB4-5BF8-4054-B36C-9DF77AB59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52AD63F-13D3-457F-B06B-56126C33A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2C96D99-79C5-4E5A-8CDE-4E443ED63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3062592-46B5-4BA4-9013-F5F0A05B9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75DBDC4-72CC-4BCA-83CA-16D79B4CF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7DCA2BE-5C91-43FB-915C-C326D645C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0.916</c:v>
                </c:pt>
                <c:pt idx="1">
                  <c:v>2.1591</c:v>
                </c:pt>
                <c:pt idx="2">
                  <c:v>0.9761</c:v>
                </c:pt>
                <c:pt idx="3">
                  <c:v>1.1417</c:v>
                </c:pt>
                <c:pt idx="4">
                  <c:v>1.275</c:v>
                </c:pt>
              </c:numCache>
            </c:numRef>
          </c:xVal>
          <c:yVal>
            <c:numRef>
              <c:f>Sheet1!$B$2:$B$6</c:f>
              <c:numCache>
                <c:formatCode>General</c:formatCode>
                <c:ptCount val="5"/>
                <c:pt idx="0">
                  <c:v>0.7386</c:v>
                </c:pt>
                <c:pt idx="1">
                  <c:v>0.4198</c:v>
                </c:pt>
                <c:pt idx="2">
                  <c:v>0.6837</c:v>
                </c:pt>
                <c:pt idx="3">
                  <c:v>0.7091</c:v>
                </c:pt>
                <c:pt idx="4">
                  <c:v>0.7317</c:v>
                </c:pt>
              </c:numCache>
            </c:numRef>
          </c:yVal>
          <c:bubbleSize>
            <c:numRef>
              <c:f>Sheet1!$C$2:$C$6</c:f>
              <c:numCache>
                <c:formatCode>General</c:formatCode>
                <c:ptCount val="5"/>
                <c:pt idx="0">
                  <c:v>1094.5674000000001</c:v>
                </c:pt>
                <c:pt idx="1">
                  <c:v>1214691.3791000003</c:v>
                </c:pt>
                <c:pt idx="2">
                  <c:v>423999.0885</c:v>
                </c:pt>
                <c:pt idx="3">
                  <c:v>1343734.6551</c:v>
                </c:pt>
                <c:pt idx="4">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0.7328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210500610623"/>
        <c:crossBetween val="midCat"/>
      </c:valAx>
      <c:valAx>
        <c:axId val="1011451359"/>
        <c:scaling>
          <c:orientation val="minMax"/>
          <c:max val="1.2463199999999999"/>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20611591950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4C7B953-35CB-434A-9B37-3E02A3F0A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1B811B8-061B-4447-80CE-703E2EF85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6FA9AC6-FB89-46FE-A9C8-3A7C516C8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7D42D77-5210-4339-9C91-8CAB6D9E4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A68D7DB-3F88-4DB3-AF83-294F2ACF6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6F9FEE8-4CB6-4C64-8D17-3A59B1129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E7A9642-B41D-426F-9D53-CFF00C796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D9593C0-64A6-4517-85EA-A5D188144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0.8286</c:v>
                </c:pt>
                <c:pt idx="1">
                  <c:v>0.7997</c:v>
                </c:pt>
                <c:pt idx="2">
                  <c:v>0.8188</c:v>
                </c:pt>
                <c:pt idx="3">
                  <c:v>1.0221</c:v>
                </c:pt>
                <c:pt idx="4">
                  <c:v>0.9366</c:v>
                </c:pt>
                <c:pt idx="5">
                  <c:v>0.9699</c:v>
                </c:pt>
                <c:pt idx="6">
                  <c:v>0.351</c:v>
                </c:pt>
                <c:pt idx="7">
                  <c:v>1.0565</c:v>
                </c:pt>
              </c:numCache>
            </c:numRef>
          </c:xVal>
          <c:yVal>
            <c:numRef>
              <c:f>Sheet1!$B$2:$B$9</c:f>
              <c:numCache>
                <c:formatCode>General</c:formatCode>
                <c:ptCount val="8"/>
                <c:pt idx="0">
                  <c:v>0.3363</c:v>
                </c:pt>
                <c:pt idx="1">
                  <c:v>0.5238</c:v>
                </c:pt>
                <c:pt idx="2">
                  <c:v>0.4895</c:v>
                </c:pt>
                <c:pt idx="3">
                  <c:v>0.6218</c:v>
                </c:pt>
                <c:pt idx="4">
                  <c:v>0.6295</c:v>
                </c:pt>
                <c:pt idx="5">
                  <c:v>0.6515</c:v>
                </c:pt>
                <c:pt idx="6">
                  <c:v>0.7677</c:v>
                </c:pt>
                <c:pt idx="7">
                  <c:v>0.6351</c:v>
                </c:pt>
              </c:numCache>
            </c:numRef>
          </c:yVal>
          <c:bubbleSize>
            <c:numRef>
              <c:f>Sheet1!$C$2:$C$9</c:f>
              <c:numCache>
                <c:formatCode>General</c:formatCode>
                <c:ptCount val="8"/>
                <c:pt idx="0">
                  <c:v>838701.6858000001</c:v>
                </c:pt>
                <c:pt idx="1">
                  <c:v>1920827.2086</c:v>
                </c:pt>
                <c:pt idx="2">
                  <c:v>301018.2378</c:v>
                </c:pt>
                <c:pt idx="3">
                  <c:v>2551270.2802000004</c:v>
                </c:pt>
                <c:pt idx="4">
                  <c:v>390839.139</c:v>
                </c:pt>
                <c:pt idx="5">
                  <c:v>3101731.2096000006</c:v>
                </c:pt>
                <c:pt idx="6">
                  <c:v>3200726.89</c:v>
                </c:pt>
                <c:pt idx="7">
                  <c:v>350237.7073000000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8"/>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6433203314779"/>
        <c:crossBetween val="midCat"/>
      </c:valAx>
      <c:valAx>
        <c:axId val="1011451359"/>
        <c:scaling>
          <c:orientation val="minMax"/>
          <c:max val="1.2812400000000002"/>
          <c:min val="0.029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647127746526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056CD32-B7EC-4A48-A253-87DD43651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41906C0-4557-44FF-9549-016A46FE4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27497CC-71A5-49DE-AEEC-D721FE486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CA51EB2-1A29-4D85-AC50-21AA222F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5BC0596-20DD-4419-A33F-6D062970B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C2A0076-3163-4821-AE6A-F365D3DAC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2E94D02-62CB-4FF1-8311-5ADE946F9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A619C70-EC19-46BB-8392-BE2B6EDB0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8</c:v>
                </c:pt>
                <c:pt idx="4">
                  <c:v>0.1407</c:v>
                </c:pt>
                <c:pt idx="5">
                  <c:v>0.1083</c:v>
                </c:pt>
              </c:numCache>
            </c:numRef>
          </c:xVal>
          <c:yVal>
            <c:numRef>
              <c:f>Sheet1!$B$2:$B$7</c:f>
              <c:numCache>
                <c:formatCode>General</c:formatCode>
                <c:ptCount val="6"/>
                <c:pt idx="0">
                  <c:v>0.4911</c:v>
                </c:pt>
                <c:pt idx="1">
                  <c:v>0.4934</c:v>
                </c:pt>
                <c:pt idx="2">
                  <c:v>0.4797</c:v>
                </c:pt>
                <c:pt idx="3">
                  <c:v>0.5165</c:v>
                </c:pt>
                <c:pt idx="4">
                  <c:v>0.0105</c:v>
                </c:pt>
                <c:pt idx="5">
                  <c:v>-0.0026</c:v>
                </c:pt>
              </c:numCache>
            </c:numRef>
          </c:yVal>
          <c:bubbleSize>
            <c:numRef>
              <c:f>Sheet1!$C$2:$C$7</c:f>
              <c:numCache>
                <c:formatCode>General</c:formatCode>
                <c:ptCount val="6"/>
                <c:pt idx="0">
                  <c:v>4518773.504</c:v>
                </c:pt>
                <c:pt idx="1">
                  <c:v>1798622.3696</c:v>
                </c:pt>
                <c:pt idx="2">
                  <c:v>1614221.3449</c:v>
                </c:pt>
                <c:pt idx="3">
                  <c:v>1997336.7136000004</c:v>
                </c:pt>
                <c:pt idx="4">
                  <c:v>1228819.4014</c:v>
                </c:pt>
                <c:pt idx="5">
                  <c:v>2298580.12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958164433314"/>
        <c:crossBetween val="midCat"/>
      </c:valAx>
      <c:valAx>
        <c:axId val="1011451359"/>
        <c:scaling>
          <c:orientation val="minMax"/>
          <c:max val="0.9798"/>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596151433530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5CEF43C-705D-4718-B378-83E993183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461A442-CA62-44AE-A0A4-A55A54D2F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6C815EF-E18C-4417-AF80-4FAB0155C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DC92495-1567-4F24-8A35-93E2E22C1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187EF16-1A5C-4A60-AC5A-5E65EE5B2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3F9EC90-35D1-4405-9E81-EBF5A0252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01400C4-E58A-4FA6-B88E-1C7537F53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8C0861B-693C-449D-BA83-7A51D87EA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0.8266</c:v>
                </c:pt>
                <c:pt idx="1">
                  <c:v>0.7994</c:v>
                </c:pt>
                <c:pt idx="2">
                  <c:v>0.8186</c:v>
                </c:pt>
                <c:pt idx="3">
                  <c:v>1.0221</c:v>
                </c:pt>
                <c:pt idx="4">
                  <c:v>0.9365</c:v>
                </c:pt>
                <c:pt idx="5">
                  <c:v>0.9699</c:v>
                </c:pt>
                <c:pt idx="6">
                  <c:v>0.351</c:v>
                </c:pt>
                <c:pt idx="7">
                  <c:v>1.0563</c:v>
                </c:pt>
              </c:numCache>
            </c:numRef>
          </c:xVal>
          <c:yVal>
            <c:numRef>
              <c:f>Sheet1!$B$2:$B$9</c:f>
              <c:numCache>
                <c:formatCode>General</c:formatCode>
                <c:ptCount val="8"/>
                <c:pt idx="0">
                  <c:v>0.3363</c:v>
                </c:pt>
                <c:pt idx="1">
                  <c:v>0.5237</c:v>
                </c:pt>
                <c:pt idx="2">
                  <c:v>0.4895</c:v>
                </c:pt>
                <c:pt idx="3">
                  <c:v>0.6218</c:v>
                </c:pt>
                <c:pt idx="4">
                  <c:v>0.6295</c:v>
                </c:pt>
                <c:pt idx="5">
                  <c:v>0.6515</c:v>
                </c:pt>
                <c:pt idx="6">
                  <c:v>0.7677</c:v>
                </c:pt>
                <c:pt idx="7">
                  <c:v>0.6351</c:v>
                </c:pt>
              </c:numCache>
            </c:numRef>
          </c:yVal>
          <c:bubbleSize>
            <c:numRef>
              <c:f>Sheet1!$C$2:$C$9</c:f>
              <c:numCache>
                <c:formatCode>General</c:formatCode>
                <c:ptCount val="8"/>
                <c:pt idx="0">
                  <c:v>2412.9196</c:v>
                </c:pt>
                <c:pt idx="1">
                  <c:v>144963.8552</c:v>
                </c:pt>
                <c:pt idx="2">
                  <c:v>23760.718799999995</c:v>
                </c:pt>
                <c:pt idx="3">
                  <c:v>180016.2997</c:v>
                </c:pt>
                <c:pt idx="4">
                  <c:v>28611.328400000002</c:v>
                </c:pt>
                <c:pt idx="5">
                  <c:v>239980.50240000003</c:v>
                </c:pt>
                <c:pt idx="6">
                  <c:v>263862.60159999994</c:v>
                </c:pt>
                <c:pt idx="7">
                  <c:v>23392.570499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56"/>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27845561223665"/>
        <c:crossBetween val="midCat"/>
      </c:valAx>
      <c:valAx>
        <c:axId val="1011451359"/>
        <c:scaling>
          <c:orientation val="minMax"/>
          <c:max val="1.2812400000000002"/>
          <c:min val="0.029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6979067289863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7ECAC4"/>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D56FBE0-E189-4325-BBF0-A280D5CFA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2FC307D-2B8D-482A-AA4C-2A1422BD1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B926743-31C9-417A-8366-1BE4B92EB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55E8A6C-0533-4874-9BDE-F09311095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BB3649B-606C-4B9B-B91F-C8AAAD033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C8D5DE8-87F6-4DBC-BB98-0FAFF2221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4D57ED3-6B86-489C-8548-09F8ED763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9F9A1D0-76C6-4C95-ABCC-64CBDC9C9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7</c:v>
                </c:pt>
                <c:pt idx="4">
                  <c:v>0.1407</c:v>
                </c:pt>
                <c:pt idx="5">
                  <c:v>0.1083</c:v>
                </c:pt>
              </c:numCache>
            </c:numRef>
          </c:xVal>
          <c:yVal>
            <c:numRef>
              <c:f>Sheet1!$B$2:$B$7</c:f>
              <c:numCache>
                <c:formatCode>General</c:formatCode>
                <c:ptCount val="6"/>
                <c:pt idx="0">
                  <c:v>0.4911</c:v>
                </c:pt>
                <c:pt idx="1">
                  <c:v>0.4934</c:v>
                </c:pt>
                <c:pt idx="2">
                  <c:v>0.48</c:v>
                </c:pt>
                <c:pt idx="3">
                  <c:v>0.5166</c:v>
                </c:pt>
                <c:pt idx="4">
                  <c:v>0.0104</c:v>
                </c:pt>
                <c:pt idx="5">
                  <c:v>-0.0032</c:v>
                </c:pt>
              </c:numCache>
            </c:numRef>
          </c:yVal>
          <c:bubbleSize>
            <c:numRef>
              <c:f>Sheet1!$C$2:$C$7</c:f>
              <c:numCache>
                <c:formatCode>General</c:formatCode>
                <c:ptCount val="6"/>
                <c:pt idx="0">
                  <c:v>310226.51690000005</c:v>
                </c:pt>
                <c:pt idx="1">
                  <c:v>129385.61390000003</c:v>
                </c:pt>
                <c:pt idx="2">
                  <c:v>100468.0599</c:v>
                </c:pt>
                <c:pt idx="3">
                  <c:v>141820.57580000002</c:v>
                </c:pt>
                <c:pt idx="4">
                  <c:v>85078.34020000002</c:v>
                </c:pt>
                <c:pt idx="5">
                  <c:v>185958.433400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466126171696827"/>
        <c:crossBetween val="midCat"/>
      </c:valAx>
      <c:valAx>
        <c:axId val="1011451359"/>
        <c:scaling>
          <c:orientation val="minMax"/>
          <c:max val="0.9799199999999999"/>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5385188349041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5F839D1-86B5-4D2E-803B-3F2EF9109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A09EF91-0F3F-45F5-B637-56A80DEBD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29684B7-62E3-4E46-86A5-402E5719F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4AB3A3C-BFE4-42C2-A076-8102CB373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567D048-A577-47EC-9C90-C22BF5D0C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DF3E901-1E83-4053-A15F-4A9FC2984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7027202-5FC9-481E-8C56-B02A3A7A3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E8B8DCF-F1ED-44B0-862B-792778B87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0.8004</c:v>
                </c:pt>
                <c:pt idx="1">
                  <c:v>0.8183</c:v>
                </c:pt>
                <c:pt idx="2">
                  <c:v>1.0227</c:v>
                </c:pt>
                <c:pt idx="3">
                  <c:v>0.9362</c:v>
                </c:pt>
                <c:pt idx="4">
                  <c:v>0.9706</c:v>
                </c:pt>
                <c:pt idx="5">
                  <c:v>0.3509</c:v>
                </c:pt>
                <c:pt idx="6">
                  <c:v>1.0563</c:v>
                </c:pt>
              </c:numCache>
            </c:numRef>
          </c:xVal>
          <c:yVal>
            <c:numRef>
              <c:f>Sheet1!$B$2:$B$8</c:f>
              <c:numCache>
                <c:formatCode>General</c:formatCode>
                <c:ptCount val="7"/>
                <c:pt idx="0">
                  <c:v>0.5245</c:v>
                </c:pt>
                <c:pt idx="1">
                  <c:v>0.4895</c:v>
                </c:pt>
                <c:pt idx="2">
                  <c:v>0.622</c:v>
                </c:pt>
                <c:pt idx="3">
                  <c:v>0.6295</c:v>
                </c:pt>
                <c:pt idx="4">
                  <c:v>0.6518</c:v>
                </c:pt>
                <c:pt idx="5">
                  <c:v>0.7677</c:v>
                </c:pt>
                <c:pt idx="6">
                  <c:v>0.6351</c:v>
                </c:pt>
              </c:numCache>
            </c:numRef>
          </c:yVal>
          <c:bubbleSize>
            <c:numRef>
              <c:f>Sheet1!$C$2:$C$8</c:f>
              <c:numCache>
                <c:formatCode>General</c:formatCode>
                <c:ptCount val="7"/>
                <c:pt idx="0">
                  <c:v>93532.5477</c:v>
                </c:pt>
                <c:pt idx="1">
                  <c:v>11674.0008</c:v>
                </c:pt>
                <c:pt idx="2">
                  <c:v>181395.7701</c:v>
                </c:pt>
                <c:pt idx="3">
                  <c:v>25231.624600000003</c:v>
                </c:pt>
                <c:pt idx="4">
                  <c:v>230309.5296</c:v>
                </c:pt>
                <c:pt idx="5">
                  <c:v>219178.043</c:v>
                </c:pt>
                <c:pt idx="6">
                  <c:v>24732.307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56"/>
          <c:min val="0.280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8440846544822"/>
        <c:crossBetween val="midCat"/>
      </c:valAx>
      <c:valAx>
        <c:axId val="1011451359"/>
        <c:scaling>
          <c:orientation val="minMax"/>
          <c:max val="1.2812400000000002"/>
          <c:min val="0.151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8908227199458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DE9164F-7A70-41A3-993C-C45A9227D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8AF283E-8B99-42D1-B4C5-CA7DAC92D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2B40608-E35F-479F-B27E-CE489BDF6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26FC0CB-5D86-4DC5-8E37-1A6849EC7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72CC0B5-4D7D-4CF1-9FBB-C39F2142D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9A34BA9-1C77-40E8-A4E0-434071653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0803DEE-47E0-48C4-AF12-F6107B715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E72E3C8-32F0-4CDD-8013-3D27CCDAC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7</c:v>
                </c:pt>
                <c:pt idx="4">
                  <c:v>0.1407</c:v>
                </c:pt>
                <c:pt idx="5">
                  <c:v>0.1083</c:v>
                </c:pt>
              </c:numCache>
            </c:numRef>
          </c:xVal>
          <c:yVal>
            <c:numRef>
              <c:f>Sheet1!$B$2:$B$7</c:f>
              <c:numCache>
                <c:formatCode>General</c:formatCode>
                <c:ptCount val="6"/>
                <c:pt idx="0">
                  <c:v>0.4909</c:v>
                </c:pt>
                <c:pt idx="1">
                  <c:v>0.4936</c:v>
                </c:pt>
                <c:pt idx="2">
                  <c:v>0.4789</c:v>
                </c:pt>
                <c:pt idx="3">
                  <c:v>0.5158</c:v>
                </c:pt>
                <c:pt idx="4">
                  <c:v>0.012</c:v>
                </c:pt>
                <c:pt idx="5">
                  <c:v>-0.0022</c:v>
                </c:pt>
              </c:numCache>
            </c:numRef>
          </c:yVal>
          <c:bubbleSize>
            <c:numRef>
              <c:f>Sheet1!$C$2:$C$7</c:f>
              <c:numCache>
                <c:formatCode>General</c:formatCode>
                <c:ptCount val="6"/>
                <c:pt idx="0">
                  <c:v>272475.62769999995</c:v>
                </c:pt>
                <c:pt idx="1">
                  <c:v>119428.28789999997</c:v>
                </c:pt>
                <c:pt idx="2">
                  <c:v>106130.8149</c:v>
                </c:pt>
                <c:pt idx="3">
                  <c:v>125001.9619</c:v>
                </c:pt>
                <c:pt idx="4">
                  <c:v>114348.92439999997</c:v>
                </c:pt>
                <c:pt idx="5">
                  <c:v>174687.4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87864830785453"/>
        <c:crossBetween val="midCat"/>
      </c:valAx>
      <c:valAx>
        <c:axId val="1011451359"/>
        <c:scaling>
          <c:orientation val="minMax"/>
          <c:max val="0.9789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2957982933789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4CAF59A-66DC-4216-B70B-C33AE5205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842405B-5D56-4739-AEA1-A68C2AD9A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1FE7859-281D-4020-83CE-0E315F99E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4FBE53A-114B-4B20-A555-35977643D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BE2EC96-0CB2-48C1-8A4B-EF6FB98E3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271B371-F552-4DE2-8EE0-6771089E3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275E342-5C15-4C94-AE8F-FB321C23B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EFB907E-6619-4D64-BF56-50CF08672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107</c:v>
                </c:pt>
                <c:pt idx="1">
                  <c:v>4.7177</c:v>
                </c:pt>
              </c:numCache>
            </c:numRef>
          </c:xVal>
          <c:yVal>
            <c:numRef>
              <c:f>Sheet1!$B$2:$B$3</c:f>
              <c:numCache>
                <c:formatCode>General</c:formatCode>
                <c:ptCount val="2"/>
                <c:pt idx="0">
                  <c:v>0.5272</c:v>
                </c:pt>
                <c:pt idx="1">
                  <c:v>0.372</c:v>
                </c:pt>
              </c:numCache>
            </c:numRef>
          </c:yVal>
          <c:bubbleSize>
            <c:numRef>
              <c:f>Sheet1!$C$2:$C$3</c:f>
              <c:numCache>
                <c:formatCode>General</c:formatCode>
                <c:ptCount val="2"/>
                <c:pt idx="0">
                  <c:v>180045.7285</c:v>
                </c:pt>
                <c:pt idx="1">
                  <c:v>1486.082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1.6085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59294788570142"/>
        <c:crossBetween val="midCat"/>
      </c:valAx>
      <c:valAx>
        <c:axId val="1011451359"/>
        <c:scaling>
          <c:orientation val="minMax"/>
          <c:max val="0.9926399999999999"/>
          <c:min val="0.0576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328604428741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C8D40B8-EAA1-4C4E-B2CB-60AD21AA3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327FBF1-2044-4C42-9031-C37CFD83B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429D4DF-B03B-41F2-8629-2E1B944EC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1D8BD39-F35B-42DE-A02E-012962A19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8F3903A-F383-4108-8251-EC8F9F29F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467BC38-CBC5-4E87-8FA2-E4BCA6853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BDB6589-1D7D-46E7-ADE9-995B618E9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1EC375A-0421-4C92-9A3B-D582905CC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0.8286</c:v>
                </c:pt>
                <c:pt idx="1">
                  <c:v>0.7997</c:v>
                </c:pt>
                <c:pt idx="2">
                  <c:v>0.8188</c:v>
                </c:pt>
                <c:pt idx="3">
                  <c:v>1.0221</c:v>
                </c:pt>
                <c:pt idx="4">
                  <c:v>0.9367</c:v>
                </c:pt>
                <c:pt idx="5">
                  <c:v>0.9698</c:v>
                </c:pt>
                <c:pt idx="6">
                  <c:v>0.351</c:v>
                </c:pt>
                <c:pt idx="7">
                  <c:v>1.0566</c:v>
                </c:pt>
              </c:numCache>
            </c:numRef>
          </c:xVal>
          <c:yVal>
            <c:numRef>
              <c:f>Sheet1!$B$2:$B$9</c:f>
              <c:numCache>
                <c:formatCode>General</c:formatCode>
                <c:ptCount val="8"/>
                <c:pt idx="0">
                  <c:v>0.3363</c:v>
                </c:pt>
                <c:pt idx="1">
                  <c:v>0.5237</c:v>
                </c:pt>
                <c:pt idx="2">
                  <c:v>0.4895</c:v>
                </c:pt>
                <c:pt idx="3">
                  <c:v>0.6217</c:v>
                </c:pt>
                <c:pt idx="4">
                  <c:v>0.6295</c:v>
                </c:pt>
                <c:pt idx="5">
                  <c:v>0.6514</c:v>
                </c:pt>
                <c:pt idx="6">
                  <c:v>0.7677</c:v>
                </c:pt>
                <c:pt idx="7">
                  <c:v>0.6351</c:v>
                </c:pt>
              </c:numCache>
            </c:numRef>
          </c:yVal>
          <c:bubbleSize>
            <c:numRef>
              <c:f>Sheet1!$C$2:$C$9</c:f>
              <c:numCache>
                <c:formatCode>General</c:formatCode>
                <c:ptCount val="8"/>
                <c:pt idx="0">
                  <c:v>836275.5084</c:v>
                </c:pt>
                <c:pt idx="1">
                  <c:v>1682330.8057000001</c:v>
                </c:pt>
                <c:pt idx="2">
                  <c:v>265583.5182</c:v>
                </c:pt>
                <c:pt idx="3">
                  <c:v>2189858.2104</c:v>
                </c:pt>
                <c:pt idx="4">
                  <c:v>336996.18600000005</c:v>
                </c:pt>
                <c:pt idx="5">
                  <c:v>2631441.1776000005</c:v>
                </c:pt>
                <c:pt idx="6">
                  <c:v>2717686.2454</c:v>
                </c:pt>
                <c:pt idx="7">
                  <c:v>302112.829200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92"/>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56190085677902"/>
        <c:crossBetween val="midCat"/>
      </c:valAx>
      <c:valAx>
        <c:axId val="1011451359"/>
        <c:scaling>
          <c:orientation val="minMax"/>
          <c:max val="1.2812400000000002"/>
          <c:min val="0.029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7679609766195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03B4BED-D4FF-49A3-8D8A-52F66C745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EB0FBBA-8634-4ABD-B34D-BA8BB327B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EEE997F-4C61-486F-BE07-E26D776BE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A02E7AC-A5BB-467D-8183-6DB61ECFC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AED8176-4E21-4927-B424-74AF416DA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3338E0B-2ED4-41D5-96ED-135442136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EF28B40-DBB7-4A8B-835D-CD38FA841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55E5795-0158-4A79-AC9D-06644463B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8</c:v>
                </c:pt>
                <c:pt idx="4">
                  <c:v>0.1407</c:v>
                </c:pt>
                <c:pt idx="5">
                  <c:v>0.1083</c:v>
                </c:pt>
              </c:numCache>
            </c:numRef>
          </c:xVal>
          <c:yVal>
            <c:numRef>
              <c:f>Sheet1!$B$2:$B$7</c:f>
              <c:numCache>
                <c:formatCode>General</c:formatCode>
                <c:ptCount val="6"/>
                <c:pt idx="0">
                  <c:v>0.4911</c:v>
                </c:pt>
                <c:pt idx="1">
                  <c:v>0.4934</c:v>
                </c:pt>
                <c:pt idx="2">
                  <c:v>0.4798</c:v>
                </c:pt>
                <c:pt idx="3">
                  <c:v>0.5166</c:v>
                </c:pt>
                <c:pt idx="4">
                  <c:v>0.0104</c:v>
                </c:pt>
                <c:pt idx="5">
                  <c:v>-0.0026</c:v>
                </c:pt>
              </c:numCache>
            </c:numRef>
          </c:yVal>
          <c:bubbleSize>
            <c:numRef>
              <c:f>Sheet1!$C$2:$C$7</c:f>
              <c:numCache>
                <c:formatCode>General</c:formatCode>
                <c:ptCount val="6"/>
                <c:pt idx="0">
                  <c:v>3936071.3594</c:v>
                </c:pt>
                <c:pt idx="1">
                  <c:v>1549808.4677999998</c:v>
                </c:pt>
                <c:pt idx="2">
                  <c:v>1407622.4700999998</c:v>
                </c:pt>
                <c:pt idx="3">
                  <c:v>1730514.1759000001</c:v>
                </c:pt>
                <c:pt idx="4">
                  <c:v>1029392.1368000001</c:v>
                </c:pt>
                <c:pt idx="5">
                  <c:v>1937934.2558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86119999781863"/>
        <c:crossBetween val="midCat"/>
      </c:valAx>
      <c:valAx>
        <c:axId val="1011451359"/>
        <c:scaling>
          <c:orientation val="minMax"/>
          <c:max val="0.9799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9817477760736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AFD4523-AA8C-4969-A4B8-ACC30C62E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FA011E9-A6D4-4EAB-AD77-85BBC414C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D9D4AC2-63B1-43FD-855E-B54A738AF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06CD8C7-1343-446C-8584-F0B5C7723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AB28812-761D-4FC7-AA57-1BF6D6213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965ED01-9E3B-4046-8392-021A97370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DB13F8D-63AE-4498-8918-63F71752D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4D29137-50B7-4D64-AD4F-875C5B80A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298</c:v>
                </c:pt>
                <c:pt idx="1">
                  <c:v>4.7177</c:v>
                </c:pt>
                <c:pt idx="2">
                  <c:v>1.5005</c:v>
                </c:pt>
                <c:pt idx="3">
                  <c:v>2.0185</c:v>
                </c:pt>
              </c:numCache>
            </c:numRef>
          </c:xVal>
          <c:yVal>
            <c:numRef>
              <c:f>Sheet1!$B$2:$B$5</c:f>
              <c:numCache>
                <c:formatCode>General</c:formatCode>
                <c:ptCount val="4"/>
                <c:pt idx="0">
                  <c:v>0.2544</c:v>
                </c:pt>
                <c:pt idx="1">
                  <c:v>0.372</c:v>
                </c:pt>
                <c:pt idx="2">
                  <c:v>0.6039</c:v>
                </c:pt>
                <c:pt idx="3">
                  <c:v>0.5305</c:v>
                </c:pt>
              </c:numCache>
            </c:numRef>
          </c:yVal>
          <c:bubbleSize>
            <c:numRef>
              <c:f>Sheet1!$C$2:$C$5</c:f>
              <c:numCache>
                <c:formatCode>General</c:formatCode>
                <c:ptCount val="4"/>
                <c:pt idx="0">
                  <c:v>3101.6832999999997</c:v>
                </c:pt>
                <c:pt idx="1">
                  <c:v>1486.0825</c:v>
                </c:pt>
                <c:pt idx="2">
                  <c:v>3205.0188000000003</c:v>
                </c:pt>
                <c:pt idx="3">
                  <c:v>173389.46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1.200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57717749446122"/>
        <c:crossBetween val="midCat"/>
      </c:valAx>
      <c:valAx>
        <c:axId val="1011451359"/>
        <c:scaling>
          <c:orientation val="minMax"/>
          <c:max val="1.0846799999999999"/>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35093346323450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7C1F125-A2FF-4DF9-A73B-DF73C1DFC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13856EF-D831-4050-B672-F3016C917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32F86F4-2304-42AD-8EF6-55F797DCB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9F7DEC6-C86C-49D6-A307-F096114C7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98B7C0E-0654-45C7-A342-AF4F9D8E7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3E5A1FB-6870-4F2A-A243-5BC38B4C8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A810386-182D-48E5-A873-A03B2F298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51D4107-4EF4-41AB-91E7-BC00EE492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6</c:v>
                </c:pt>
              </c:numCache>
            </c:numRef>
          </c:xVal>
          <c:yVal>
            <c:numRef>
              <c:f>Sheet1!$B$2:$B$2</c:f>
              <c:numCache>
                <c:formatCode>General</c:formatCode>
                <c:ptCount val="1"/>
                <c:pt idx="0">
                  <c:v>0.4195</c:v>
                </c:pt>
              </c:numCache>
            </c:numRef>
          </c:yVal>
          <c:bubbleSize>
            <c:numRef>
              <c:f>Sheet1!$C$2:$C$2</c:f>
              <c:numCache>
                <c:formatCode>General</c:formatCode>
                <c:ptCount val="1"/>
                <c:pt idx="0">
                  <c:v>78650.0928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1.7268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5"/>
        <c:crossBetween val="midCat"/>
      </c:valAx>
      <c:valAx>
        <c:axId val="1011451359"/>
        <c:scaling>
          <c:orientation val="minMax"/>
          <c:max val="0.8634000000000001"/>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D9D60EF-8106-4FE7-BEA5-26F6146F1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CB6AE31-5617-4691-A296-54ACA9878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3031A84-370E-445F-8718-8B612ABFF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B96DB1D-7E15-4B7E-A01A-883518D93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E977BA3-41A2-4E11-A096-2473CB9D9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6B533F2-B56C-4F4D-9097-BB7221D20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24C2498-D11E-4B6B-969F-2A0E2C859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5890228-B837-40D3-8978-E4F952047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994</c:v>
                </c:pt>
                <c:pt idx="1">
                  <c:v>2.233</c:v>
                </c:pt>
                <c:pt idx="2">
                  <c:v>4.7265</c:v>
                </c:pt>
                <c:pt idx="3">
                  <c:v>1.508</c:v>
                </c:pt>
                <c:pt idx="4">
                  <c:v>2.0187</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2069.6072</c:v>
                </c:pt>
                <c:pt idx="1">
                  <c:v>1055523.5942</c:v>
                </c:pt>
                <c:pt idx="2">
                  <c:v>55007.155300000006</c:v>
                </c:pt>
                <c:pt idx="3">
                  <c:v>72621.1476</c:v>
                </c:pt>
                <c:pt idx="4">
                  <c:v>2189444.76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1.206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431727414468928"/>
        <c:crossBetween val="midCat"/>
      </c:valAx>
      <c:valAx>
        <c:axId val="1011451359"/>
        <c:scaling>
          <c:orientation val="minMax"/>
          <c:max val="1.0893599999999999"/>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1947711346976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3937437-D3D2-497B-B6B0-94499D0C1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42492AE-6ADA-4DD8-A022-0D97C0DA5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C9C4B83-9D1F-49A3-82D2-0BA391B03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CA32149-F6D1-4FAC-A624-7763442E1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4C3564D-5F86-487D-9CF8-4FDD6C8BC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51EBF42-77F3-47E5-B41A-626C61F9A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7B4C750-DBB3-4612-A273-287B9F291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458CD19-80F7-4F96-8586-90A74D776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2</c:v>
                </c:pt>
              </c:numCache>
            </c:numRef>
          </c:xVal>
          <c:yVal>
            <c:numRef>
              <c:f>Sheet1!$B$2:$B$2</c:f>
              <c:numCache>
                <c:formatCode>General</c:formatCode>
                <c:ptCount val="1"/>
                <c:pt idx="0">
                  <c:v>0.4198</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1.727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031695C-AA39-45B8-A563-CA97A1C3F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20C28E2-F0D6-45E6-B462-55C4B3058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2B7351C-BEF7-42C6-AD35-97BBF26A6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EE72D00-48DA-4CCA-B7A0-43AF49797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50D851B-78F3-4290-9DB7-403B7F2D9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4815F7F-E285-4C91-B5F1-87833D621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0037EA6-654C-490F-A27F-CBB0EDDBE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E6FCB0F-DB6C-414B-9184-5A5654425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186</c:v>
                </c:pt>
              </c:numCache>
            </c:numRef>
          </c:xVal>
          <c:yVal>
            <c:numRef>
              <c:f>Sheet1!$B$2:$B$2</c:f>
              <c:numCache>
                <c:formatCode>General</c:formatCode>
                <c:ptCount val="1"/>
                <c:pt idx="0">
                  <c:v>0.5307</c:v>
                </c:pt>
              </c:numCache>
            </c:numRef>
          </c:yVal>
          <c:bubbleSize>
            <c:numRef>
              <c:f>Sheet1!$C$2:$C$2</c:f>
              <c:numCache>
                <c:formatCode>General</c:formatCode>
                <c:ptCount val="1"/>
                <c:pt idx="0">
                  <c:v>175947.76450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2232"/>
          <c:min val="1.61488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307"/>
        <c:crossBetween val="midCat"/>
      </c:valAx>
      <c:valAx>
        <c:axId val="1011451359"/>
        <c:scaling>
          <c:orientation val="minMax"/>
          <c:max val="0.99684"/>
          <c:min val="0.1845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1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F741BBA-2126-4EFD-8239-69217D204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841C195-A500-48B1-86A0-EF98B499A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7EB1CAC-2309-4978-B4F6-992E732A6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55E4ED1-30FD-4BA6-864C-158C2B172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37EA143-2FD9-48D2-882C-26BA0249C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F7E08BC-78DD-4A5E-BAA2-BF6434A61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57A2B6E-3EB1-476C-B83A-4F7C5772C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65982BD-7855-4A61-A420-B766BCD61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9</c:v>
                </c:pt>
              </c:numCache>
            </c:numRef>
          </c:xVal>
          <c:yVal>
            <c:numRef>
              <c:f>Sheet1!$B$2:$B$2</c:f>
              <c:numCache>
                <c:formatCode>General</c:formatCode>
                <c:ptCount val="1"/>
                <c:pt idx="0">
                  <c:v>0.4199</c:v>
                </c:pt>
              </c:numCache>
            </c:numRef>
          </c:yVal>
          <c:bubbleSize>
            <c:numRef>
              <c:f>Sheet1!$C$2:$C$2</c:f>
              <c:numCache>
                <c:formatCode>General</c:formatCode>
                <c:ptCount val="1"/>
                <c:pt idx="0">
                  <c:v>89489.1703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1.72712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9"/>
        <c:crossBetween val="midCat"/>
      </c:valAx>
      <c:valAx>
        <c:axId val="1011451359"/>
        <c:scaling>
          <c:orientation val="minMax"/>
          <c:max val="0.86388"/>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B17AF39-4C3D-4871-AA16-86E2D690C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2D262CE-7CD0-44B6-A1B5-87E5356C8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B8A2BB1-C840-485A-A5E2-5DCEC6D3B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A390B57-110B-4D4F-A613-0FB1A77C7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F4BE8E3-5FA5-4C48-9572-DB927C632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DCB5E85-2F08-4DEC-B425-7C16EF1F6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1C19E69-88B5-4C02-AC9F-DDCEF5456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10A732E-321F-416F-B6BC-1E2347AA1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938</c:v>
                </c:pt>
                <c:pt idx="1">
                  <c:v>2.233</c:v>
                </c:pt>
                <c:pt idx="2">
                  <c:v>4.7263</c:v>
                </c:pt>
                <c:pt idx="3">
                  <c:v>1.5077</c:v>
                </c:pt>
                <c:pt idx="4">
                  <c:v>2.0186</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2502.780799999999</c:v>
                </c:pt>
                <c:pt idx="1">
                  <c:v>1058631.9766</c:v>
                </c:pt>
                <c:pt idx="2">
                  <c:v>56493.2378</c:v>
                </c:pt>
                <c:pt idx="3">
                  <c:v>75862.37519999998</c:v>
                </c:pt>
                <c:pt idx="4">
                  <c:v>2538781.9903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1.20616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1925053678673"/>
        <c:crossBetween val="midCat"/>
      </c:valAx>
      <c:valAx>
        <c:axId val="1011451359"/>
        <c:scaling>
          <c:orientation val="minMax"/>
          <c:max val="1.0893599999999999"/>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1066725203916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B6249AC-FAE1-444D-AA13-F50F2A167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0AC5E0E-BD6D-45FF-92F6-C715E5F12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0D01EA0-EB9C-4A19-AE1B-3BD0FDDFB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37FB3C1-E3E2-415F-8165-F7E4F4408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21988B4-654E-4B87-8C17-F7DA8E366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C12FEE3-97AF-471B-B1BD-F0A89311B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24A0721-1867-4858-B2A8-146089CF8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7779742-7875-456D-8104-4841E3767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1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1.7272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D10E5A0-EDE5-49D3-870B-53D2E643A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4CA0CCA-ADBC-439A-A39B-C3D995406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C8D2DAD-4F4D-4236-BF9E-62EFD0329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93500CC-C306-4B5D-99E6-FA75F9CE6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E888688-D0F5-4A46-A0D6-D2109CEC0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78299B1-00F0-42D7-AE33-0609A0400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AD82FF3-6C8B-4C12-A3BA-BE4E7CDC6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A51BC08-2F3D-461A-91FF-D413528EA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9211</c:v>
                </c:pt>
                <c:pt idx="1">
                  <c:v>3.4343</c:v>
                </c:pt>
              </c:numCache>
            </c:numRef>
          </c:xVal>
          <c:yVal>
            <c:numRef>
              <c:f>Sheet1!$B$2:$B$3</c:f>
              <c:numCache>
                <c:formatCode>General</c:formatCode>
                <c:ptCount val="2"/>
                <c:pt idx="0">
                  <c:v>0.6148</c:v>
                </c:pt>
                <c:pt idx="1">
                  <c:v>0.4855</c:v>
                </c:pt>
              </c:numCache>
            </c:numRef>
          </c:yVal>
          <c:bubbleSize>
            <c:numRef>
              <c:f>Sheet1!$C$2:$C$3</c:f>
              <c:numCache>
                <c:formatCode>General</c:formatCode>
                <c:ptCount val="2"/>
                <c:pt idx="0">
                  <c:v>20012430.214000005</c:v>
                </c:pt>
                <c:pt idx="1">
                  <c:v>82412.08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2116"/>
          <c:min val="0.7368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697205071281"/>
        <c:crossBetween val="midCat"/>
      </c:valAx>
      <c:valAx>
        <c:axId val="1011451359"/>
        <c:scaling>
          <c:orientation val="minMax"/>
          <c:max val="1.09776"/>
          <c:min val="0.148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31407025688210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C0DDAEC-0A1C-4A2F-B24E-92565EA3A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FEF7F78-2EBB-409D-AE6B-2AC6FE2C1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5880616-62FA-4F1D-9718-C792D8F90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E9E33F4-0659-4793-969B-7B10CCE6F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45D2A0-31B7-49AA-9C82-E9EE7B6AD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A0BA169-9952-43A4-9CFE-62730975B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A09EC70-A83A-45C7-AEB6-ECFAD85EE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6618B77-1DAE-4C4B-B46A-1D8692025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531</c:v>
                </c:pt>
                <c:pt idx="1">
                  <c:v>1.702</c:v>
                </c:pt>
                <c:pt idx="2">
                  <c:v>2.2102</c:v>
                </c:pt>
                <c:pt idx="3">
                  <c:v>1.1994</c:v>
                </c:pt>
                <c:pt idx="4">
                  <c:v>2.5646</c:v>
                </c:pt>
                <c:pt idx="5">
                  <c:v>1.6512</c:v>
                </c:pt>
              </c:numCache>
            </c:numRef>
          </c:xVal>
          <c:yVal>
            <c:numRef>
              <c:f>Sheet1!$B$2:$B$7</c:f>
              <c:numCache>
                <c:formatCode>General</c:formatCode>
                <c:ptCount val="6"/>
                <c:pt idx="0">
                  <c:v>0.797</c:v>
                </c:pt>
                <c:pt idx="1">
                  <c:v>0.6948</c:v>
                </c:pt>
                <c:pt idx="2">
                  <c:v>0.7136</c:v>
                </c:pt>
                <c:pt idx="3">
                  <c:v>0.7271</c:v>
                </c:pt>
                <c:pt idx="4">
                  <c:v>0.7947</c:v>
                </c:pt>
                <c:pt idx="5">
                  <c:v>0.6903</c:v>
                </c:pt>
              </c:numCache>
            </c:numRef>
          </c:yVal>
          <c:bubbleSize>
            <c:numRef>
              <c:f>Sheet1!$C$2:$C$7</c:f>
              <c:numCache>
                <c:formatCode>General</c:formatCode>
                <c:ptCount val="6"/>
                <c:pt idx="0">
                  <c:v>1764.1728</c:v>
                </c:pt>
                <c:pt idx="1">
                  <c:v>2654418.0468999995</c:v>
                </c:pt>
                <c:pt idx="2">
                  <c:v>28272.3697</c:v>
                </c:pt>
                <c:pt idx="3">
                  <c:v>72733.44779999998</c:v>
                </c:pt>
                <c:pt idx="4">
                  <c:v>8139.9552</c:v>
                </c:pt>
                <c:pt idx="5">
                  <c:v>3648181.744600001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7752"/>
          <c:min val="0.959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84435832078"/>
        <c:crossBetween val="midCat"/>
      </c:valAx>
      <c:valAx>
        <c:axId val="1011451359"/>
        <c:scaling>
          <c:orientation val="minMax"/>
          <c:max val="1.3164"/>
          <c:min val="0.31224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70972927376282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AF08E6F-AC46-47C6-B814-8654D92B5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9F90E31-5BA5-4513-B351-66EEF4521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F480794-35A5-4753-832F-0C3EFE89A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EF48F3F-A17D-4D2F-9E84-A1E0B563D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AF3BB32-DCDF-4B3B-876B-CA137243D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D2131B1-137B-4FB3-A0CA-7C1275762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467E27B-DCE3-4F72-82D3-0E3760125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5DB8292-F316-479A-97F6-CCD9C3E14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16</c:v>
                </c:pt>
                <c:pt idx="1">
                  <c:v>0.9761</c:v>
                </c:pt>
                <c:pt idx="2">
                  <c:v>1.1417</c:v>
                </c:pt>
                <c:pt idx="3">
                  <c:v>1.275</c:v>
                </c:pt>
              </c:numCache>
            </c:numRef>
          </c:xVal>
          <c:yVal>
            <c:numRef>
              <c:f>Sheet1!$B$2:$B$5</c:f>
              <c:numCache>
                <c:formatCode>General</c:formatCode>
                <c:ptCount val="4"/>
                <c:pt idx="0">
                  <c:v>0.7386</c:v>
                </c:pt>
                <c:pt idx="1">
                  <c:v>0.6837</c:v>
                </c:pt>
                <c:pt idx="2">
                  <c:v>0.7091</c:v>
                </c:pt>
                <c:pt idx="3">
                  <c:v>0.7317</c:v>
                </c:pt>
              </c:numCache>
            </c:numRef>
          </c:yVal>
          <c:bubbleSize>
            <c:numRef>
              <c:f>Sheet1!$C$2:$C$5</c:f>
              <c:numCache>
                <c:formatCode>General</c:formatCode>
                <c:ptCount val="4"/>
                <c:pt idx="0">
                  <c:v>1094.5674000000001</c:v>
                </c:pt>
                <c:pt idx="1">
                  <c:v>423999.0885</c:v>
                </c:pt>
                <c:pt idx="2">
                  <c:v>1343734.6551</c:v>
                </c:pt>
                <c:pt idx="3">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9999999999998"/>
          <c:min val="0.7328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24399776706"/>
        <c:crossBetween val="midCat"/>
      </c:valAx>
      <c:valAx>
        <c:axId val="1011451359"/>
        <c:scaling>
          <c:orientation val="minMax"/>
          <c:max val="1.2463199999999999"/>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08506338246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68C23CF-D51E-49A0-B1D3-AE858F31B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D0EF16F-BDF9-4A7C-903E-ED1D030C2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5AEB160-D3AB-4C57-AA2E-6D9CDEA63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AB6DFBC-4F27-4AEA-9CEE-2B670B55B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95A1D25-5CAB-4C6E-B124-DEBED08F5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7F9090C-C0A4-4532-9611-D5A5260E6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A1028DE-10F9-47F8-8CDE-64D5AE84D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4B3D213-ABFB-4451-9B0A-F7C4E8024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027</c:v>
                </c:pt>
                <c:pt idx="1">
                  <c:v>1.1915</c:v>
                </c:pt>
                <c:pt idx="2">
                  <c:v>1.6533</c:v>
                </c:pt>
              </c:numCache>
            </c:numRef>
          </c:xVal>
          <c:yVal>
            <c:numRef>
              <c:f>Sheet1!$B$2:$B$4</c:f>
              <c:numCache>
                <c:formatCode>General</c:formatCode>
                <c:ptCount val="3"/>
                <c:pt idx="0">
                  <c:v>0.695</c:v>
                </c:pt>
                <c:pt idx="1">
                  <c:v>0.7269</c:v>
                </c:pt>
                <c:pt idx="2">
                  <c:v>0.6906</c:v>
                </c:pt>
              </c:numCache>
            </c:numRef>
          </c:yVal>
          <c:bubbleSize>
            <c:numRef>
              <c:f>Sheet1!$C$2:$C$4</c:f>
              <c:numCache>
                <c:formatCode>General</c:formatCode>
                <c:ptCount val="3"/>
                <c:pt idx="0">
                  <c:v>127660.91679999999</c:v>
                </c:pt>
                <c:pt idx="1">
                  <c:v>3367.1780999999996</c:v>
                </c:pt>
                <c:pt idx="2">
                  <c:v>244698.587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4324"/>
          <c:min val="0.953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4203035099855"/>
        <c:crossBetween val="midCat"/>
      </c:valAx>
      <c:valAx>
        <c:axId val="1011451359"/>
        <c:scaling>
          <c:orientation val="minMax"/>
          <c:max val="1.2322799999999998"/>
          <c:min val="0.31248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5946124602396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2DC1A07-1ECA-4BF4-BF94-1B99E8732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0F8E850-5E27-4878-9EC4-04351A7CD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979D4C3-A908-47D2-95C6-36C776230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0360FDE-170B-4BDC-8729-85E525446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9DD2682-510B-4CAF-9282-1114EAB21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10E52DA-7C09-48B7-8E27-2931C4A41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52040DA-A4ED-4218-85ED-A31B96AC6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674DE3D-66C6-44D0-9255-7B06231EA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5</c:v>
                </c:pt>
                <c:pt idx="1">
                  <c:v>1.1413</c:v>
                </c:pt>
                <c:pt idx="2">
                  <c:v>1.2749</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0082.322399999997</c:v>
                </c:pt>
                <c:pt idx="1">
                  <c:v>85603.14790000001</c:v>
                </c:pt>
                <c:pt idx="2">
                  <c:v>162101.8535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88"/>
          <c:min val="0.780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195375205523913"/>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130690871351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41C9427-2802-4E1B-9ECA-420A0DC8A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0EBB013-1004-4BFD-A0E8-29CDCCCA4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24C9AC2-C4F6-4512-9235-C14CA096B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8927870-EEA0-4A9D-86DB-6EA055198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B00F8C0-9894-4476-8CE3-0F3E9A717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8BC83FD-3E48-46C0-92A9-85B7B0D37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E567B60-418C-470E-A80B-AD53B35AE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0C2D604-1286-420F-825E-FF834B5A3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443</c:v>
                </c:pt>
                <c:pt idx="1">
                  <c:v>2.5353</c:v>
                </c:pt>
                <c:pt idx="2">
                  <c:v>1.6498</c:v>
                </c:pt>
              </c:numCache>
            </c:numRef>
          </c:xVal>
          <c:yVal>
            <c:numRef>
              <c:f>Sheet1!$B$2:$B$4</c:f>
              <c:numCache>
                <c:formatCode>General</c:formatCode>
                <c:ptCount val="3"/>
                <c:pt idx="0">
                  <c:v>0.6969</c:v>
                </c:pt>
                <c:pt idx="1">
                  <c:v>0.7947</c:v>
                </c:pt>
                <c:pt idx="2">
                  <c:v>0.6902</c:v>
                </c:pt>
              </c:numCache>
            </c:numRef>
          </c:yVal>
          <c:bubbleSize>
            <c:numRef>
              <c:f>Sheet1!$C$2:$C$4</c:f>
              <c:numCache>
                <c:formatCode>General</c:formatCode>
                <c:ptCount val="3"/>
                <c:pt idx="0">
                  <c:v>1141.1115999999997</c:v>
                </c:pt>
                <c:pt idx="1">
                  <c:v>1341.184</c:v>
                </c:pt>
                <c:pt idx="2">
                  <c:v>278077.108800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4236"/>
          <c:min val="1.31544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07268017161503"/>
        <c:crossBetween val="midCat"/>
      </c:valAx>
      <c:valAx>
        <c:axId val="1011451359"/>
        <c:scaling>
          <c:orientation val="minMax"/>
          <c:max val="1.31364"/>
          <c:min val="0.31216000000000005"/>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5401066732988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F10E798-A105-4AC0-B682-2AFA75994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6EA8914-4726-43CB-949A-74601CDCD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355119D-72F7-40F6-A6A8-37E9AC08C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F28DE02-6B47-462B-A95B-F02BA3F53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4480DDD-DAC8-4277-8C09-4133CB130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F48810A-5C94-4715-AF4F-55A54B7E5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D2BA148-162A-4DE9-9982-933420663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C155076-D8E8-4421-9183-8996B3658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8</c:v>
                </c:pt>
                <c:pt idx="1">
                  <c:v>1.1412</c:v>
                </c:pt>
                <c:pt idx="2">
                  <c:v>1.2748</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28301.748799999998</c:v>
                </c:pt>
                <c:pt idx="1">
                  <c:v>86297.40030000001</c:v>
                </c:pt>
                <c:pt idx="2">
                  <c:v>182797.47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7599999999998"/>
          <c:min val="0.780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6355656443939"/>
        <c:crossBetween val="midCat"/>
      </c:valAx>
      <c:valAx>
        <c:axId val="1011451359"/>
        <c:scaling>
          <c:orientation val="minMax"/>
          <c:max val="1.23816"/>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757813582804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68D4264-B321-413E-838B-F4DE79FA9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01F6D8D-C8D2-4362-AE3D-D923602B3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7089506-42C9-4C86-8278-AAB00C821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2839392-2F99-4521-9108-F51389DAC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908419A-053C-4C8D-A994-69DC81C69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5DDE6CE-D2FB-4553-AF05-031C2BCA9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2A29847-413B-40F6-9A80-74A74D261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7357838-8E3D-4EF5-93B1-EA264AAA3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526</c:v>
                </c:pt>
                <c:pt idx="1">
                  <c:v>1.702</c:v>
                </c:pt>
                <c:pt idx="2">
                  <c:v>2.2174</c:v>
                </c:pt>
                <c:pt idx="3">
                  <c:v>1.1998</c:v>
                </c:pt>
                <c:pt idx="4">
                  <c:v>2.5738</c:v>
                </c:pt>
                <c:pt idx="5">
                  <c:v>1.6511</c:v>
                </c:pt>
              </c:numCache>
            </c:numRef>
          </c:xVal>
          <c:yVal>
            <c:numRef>
              <c:f>Sheet1!$B$2:$B$7</c:f>
              <c:numCache>
                <c:formatCode>General</c:formatCode>
                <c:ptCount val="6"/>
                <c:pt idx="0">
                  <c:v>0.797</c:v>
                </c:pt>
                <c:pt idx="1">
                  <c:v>0.6948</c:v>
                </c:pt>
                <c:pt idx="2">
                  <c:v>0.7142</c:v>
                </c:pt>
                <c:pt idx="3">
                  <c:v>0.7271</c:v>
                </c:pt>
                <c:pt idx="4">
                  <c:v>0.7947</c:v>
                </c:pt>
                <c:pt idx="5">
                  <c:v>0.6903</c:v>
                </c:pt>
              </c:numCache>
            </c:numRef>
          </c:yVal>
          <c:bubbleSize>
            <c:numRef>
              <c:f>Sheet1!$C$2:$C$7</c:f>
              <c:numCache>
                <c:formatCode>General</c:formatCode>
                <c:ptCount val="6"/>
                <c:pt idx="0">
                  <c:v>1733.2224</c:v>
                </c:pt>
                <c:pt idx="1">
                  <c:v>2525616.0185</c:v>
                </c:pt>
                <c:pt idx="2">
                  <c:v>27404.9312</c:v>
                </c:pt>
                <c:pt idx="3">
                  <c:v>69360.26759999999</c:v>
                </c:pt>
                <c:pt idx="4">
                  <c:v>6169.4464</c:v>
                </c:pt>
                <c:pt idx="5">
                  <c:v>3125406.048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885599999999998"/>
          <c:min val="0.959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9759142686034"/>
        <c:crossBetween val="midCat"/>
      </c:valAx>
      <c:valAx>
        <c:axId val="1011451359"/>
        <c:scaling>
          <c:orientation val="minMax"/>
          <c:max val="1.3164"/>
          <c:min val="0.31224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7195345608767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26DA10F-CC09-4E7A-BAF3-323B9AAA6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775DD32-6D9E-44D9-93ED-856B2FBB7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44D4088-5DF1-487D-9F63-6F027279E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039DC09-8DE7-4D5C-B2F6-CD141FCBB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FC22FE2-41A9-4C59-B648-BD3820547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22707B4-EAB5-4802-8347-70FBE3E91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52130A0-0445-4DE8-B86E-037F30253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C047F3F-4FE4-40C0-8CA5-B21DCFB43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62</c:v>
                </c:pt>
                <c:pt idx="1">
                  <c:v>1.1418</c:v>
                </c:pt>
                <c:pt idx="2">
                  <c:v>1.275</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65615.01729999995</c:v>
                </c:pt>
                <c:pt idx="1">
                  <c:v>1171834.1069</c:v>
                </c:pt>
                <c:pt idx="2">
                  <c:v>2266539.603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9999999999998"/>
          <c:min val="0.7809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45262543237"/>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24846044463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3898EEE-F3E0-457C-B8BD-1C42D0B8A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086E585-AF98-4AC6-8598-59F35A1D4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4370E65-172D-41B7-8D12-AE73DA5F7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113E1C8-6F8A-46B9-A4A4-B185382EF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A52A138-3169-4DF2-B252-911192822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B786651-26FA-428D-8751-33E600A7D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0E8177F-47D0-4D1C-B30F-0EF297CC5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F1F5AAB-685A-44E4-9216-3C9C69A8E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7939</c:v>
                </c:pt>
                <c:pt idx="1">
                  <c:v>3.4343</c:v>
                </c:pt>
              </c:numCache>
            </c:numRef>
          </c:xVal>
          <c:yVal>
            <c:numRef>
              <c:f>Sheet1!$B$2:$B$3</c:f>
              <c:numCache>
                <c:formatCode>General</c:formatCode>
                <c:ptCount val="2"/>
                <c:pt idx="0">
                  <c:v>0.6017</c:v>
                </c:pt>
                <c:pt idx="1">
                  <c:v>0.4855</c:v>
                </c:pt>
              </c:numCache>
            </c:numRef>
          </c:yVal>
          <c:bubbleSize>
            <c:numRef>
              <c:f>Sheet1!$C$2:$C$3</c:f>
              <c:numCache>
                <c:formatCode>General</c:formatCode>
                <c:ptCount val="2"/>
                <c:pt idx="0">
                  <c:v>9049214.537299998</c:v>
                </c:pt>
                <c:pt idx="1">
                  <c:v>82412.08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2116"/>
          <c:min val="1.43512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06513057371026"/>
        <c:crossBetween val="midCat"/>
      </c:valAx>
      <c:valAx>
        <c:axId val="1011451359"/>
        <c:scaling>
          <c:orientation val="minMax"/>
          <c:max val="1.08204"/>
          <c:min val="0.148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0870445842389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5</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18270508795408702</c:v>
                </c:pt>
                <c:pt idx="1">
                  <c:v>0.027266825692528585</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374</c:v>
                </c:pt>
                <c:pt idx="1">
                  <c:v>0.3086</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9</c:v>
                </c:pt>
                <c:pt idx="1">
                  <c:v>15</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1817072786188756</c:v>
                </c:pt>
                <c:pt idx="1">
                  <c:v>-0.004933677964746641</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73</c:v>
                </c:pt>
                <c:pt idx="1">
                  <c:v>0.4356</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5</c:v>
                </c:pt>
                <c:pt idx="1">
                  <c:v>10</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6/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0.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1.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2.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3.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5.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6.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7.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8.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9.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2.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3.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5.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6.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8.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9.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0.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1.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2.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3.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5.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6.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7.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8.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9.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0.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1.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5.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6.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7.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8.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9.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0.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1.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3.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5.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6.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7.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0.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1.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2.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3.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5.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6.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7.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8.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9.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0.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1.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2.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3.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5.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6.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7.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8.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9.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0.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2.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3.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5.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6.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9.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0.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1.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2.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3.xml"/></Relationships>
</file>

<file path=ppt/notesSlides/_rels/notesSlide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5.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6.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7.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8.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9.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chart" Target="../charts/chart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chart" Target="../charts/chart1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 Id="rId7" Type="http://schemas.openxmlformats.org/officeDocument/2006/relationships/chart" Target="../charts/chart125.xml"/><Relationship Id="rId8" Type="http://schemas.openxmlformats.org/officeDocument/2006/relationships/chart" Target="../charts/chart126.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 Id="rId7" Type="http://schemas.openxmlformats.org/officeDocument/2006/relationships/chart" Target="../charts/chart128.xml"/><Relationship Id="rId8" Type="http://schemas.openxmlformats.org/officeDocument/2006/relationships/chart" Target="../charts/chart129.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 Id="rId7" Type="http://schemas.openxmlformats.org/officeDocument/2006/relationships/chart" Target="../charts/chart131.xml"/><Relationship Id="rId8" Type="http://schemas.openxmlformats.org/officeDocument/2006/relationships/chart" Target="../charts/chart13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 Id="rId7" Type="http://schemas.openxmlformats.org/officeDocument/2006/relationships/chart" Target="../charts/chart137.xml"/><Relationship Id="rId8" Type="http://schemas.openxmlformats.org/officeDocument/2006/relationships/chart" Target="../charts/chart138.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 Id="rId7" Type="http://schemas.openxmlformats.org/officeDocument/2006/relationships/chart" Target="../charts/chart140.xml"/><Relationship Id="rId8" Type="http://schemas.openxmlformats.org/officeDocument/2006/relationships/chart" Target="../charts/chart141.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xml"/><Relationship Id="rId7" Type="http://schemas.openxmlformats.org/officeDocument/2006/relationships/chart" Target="../charts/chart143.xml"/><Relationship Id="rId8" Type="http://schemas.openxmlformats.org/officeDocument/2006/relationships/chart" Target="../charts/chart144.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xml"/><Relationship Id="rId7" Type="http://schemas.openxmlformats.org/officeDocument/2006/relationships/chart" Target="../charts/chart149.xml"/><Relationship Id="rId8" Type="http://schemas.openxmlformats.org/officeDocument/2006/relationships/chart" Target="../charts/chart150.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 Id="rId7" Type="http://schemas.openxmlformats.org/officeDocument/2006/relationships/chart" Target="../charts/chart152.xml"/><Relationship Id="rId8" Type="http://schemas.openxmlformats.org/officeDocument/2006/relationships/chart" Target="../charts/chart153.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chart" Target="../charts/chart1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xml"/><Relationship Id="rId7" Type="http://schemas.openxmlformats.org/officeDocument/2006/relationships/chart" Target="../charts/chart155.xml"/><Relationship Id="rId8" Type="http://schemas.openxmlformats.org/officeDocument/2006/relationships/chart" Target="../charts/chart156.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xml"/><Relationship Id="rId7" Type="http://schemas.openxmlformats.org/officeDocument/2006/relationships/chart" Target="../charts/chart161.xml"/><Relationship Id="rId8" Type="http://schemas.openxmlformats.org/officeDocument/2006/relationships/chart" Target="../charts/chart16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 Id="rId7" Type="http://schemas.openxmlformats.org/officeDocument/2006/relationships/chart" Target="../charts/chart164.xml"/><Relationship Id="rId8" Type="http://schemas.openxmlformats.org/officeDocument/2006/relationships/chart" Target="../charts/chart165.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xml"/><Relationship Id="rId7" Type="http://schemas.openxmlformats.org/officeDocument/2006/relationships/chart" Target="../charts/chart173.xml"/><Relationship Id="rId8" Type="http://schemas.openxmlformats.org/officeDocument/2006/relationships/chart" Target="../charts/chart174.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 Id="rId7" Type="http://schemas.openxmlformats.org/officeDocument/2006/relationships/chart" Target="../charts/chart176.xml"/><Relationship Id="rId8" Type="http://schemas.openxmlformats.org/officeDocument/2006/relationships/chart" Target="../charts/chart17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xml"/><Relationship Id="rId7" Type="http://schemas.openxmlformats.org/officeDocument/2006/relationships/chart" Target="../charts/chart179.xml"/><Relationship Id="rId8" Type="http://schemas.openxmlformats.org/officeDocument/2006/relationships/chart" Target="../charts/chart180.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chart" Target="../charts/chart1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xml"/><Relationship Id="rId7" Type="http://schemas.openxmlformats.org/officeDocument/2006/relationships/chart" Target="../charts/chart185.xml"/><Relationship Id="rId8" Type="http://schemas.openxmlformats.org/officeDocument/2006/relationships/chart" Target="../charts/chart186.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 Id="rId7" Type="http://schemas.openxmlformats.org/officeDocument/2006/relationships/chart" Target="../charts/chart188.xml"/><Relationship Id="rId8" Type="http://schemas.openxmlformats.org/officeDocument/2006/relationships/chart" Target="../charts/chart189.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xml"/><Relationship Id="rId7" Type="http://schemas.openxmlformats.org/officeDocument/2006/relationships/chart" Target="../charts/chart191.xml"/><Relationship Id="rId8" Type="http://schemas.openxmlformats.org/officeDocument/2006/relationships/chart" Target="../charts/chart19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chart" Target="../charts/chart1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chart" Target="../charts/chart1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chart" Target="../charts/chart1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chart" Target="../charts/chart1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chart" Target="../charts/chart1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chart" Target="../charts/chart1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chart" Target="../charts/chart1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chart" Target="../charts/chart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chart" Target="../charts/chart2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chart" Target="../charts/chart2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chart" Target="../charts/chart2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chart" Target="../charts/chart2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chart" Target="../charts/chart2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chart" Target="../charts/chart2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chart" Target="../charts/chart2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chart" Target="../charts/chart2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chart" Target="../charts/chart2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chart" Target="../charts/chart2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chart" Target="../charts/chart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chart" Target="../charts/chart3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chart" Target="../charts/chart3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chart" Target="../charts/chart3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chart" Target="../charts/chart3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chart" Target="../charts/chart3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chart" Target="../charts/chart3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chart" Target="../charts/chart3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chart" Target="../charts/chart3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chart" Target="../charts/chart3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chart" Target="../charts/chart3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chart" Target="../charts/chart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chart" Target="../charts/chart4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00.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0.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chart" Target="../charts/chart4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411.xml.rels><?xml version='1.0' encoding='UTF-8' standalone='yes'?>
<Relationships xmlns="http://schemas.openxmlformats.org/package/2006/relationships"><Relationship Id="rId1" Type="http://schemas.openxmlformats.org/officeDocument/2006/relationships/tags" Target="../tags/tag4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s>
</file>

<file path=ppt/slides/_rels/slide415.xml.rels><?xml version='1.0' encoding='UTF-8' standalone='yes'?>
<Relationships xmlns="http://schemas.openxmlformats.org/package/2006/relationships"><Relationship Id="rId1" Type="http://schemas.openxmlformats.org/officeDocument/2006/relationships/tags" Target="../tags/tag4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chart" Target="../charts/chart4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422.xml.rels><?xml version='1.0' encoding='UTF-8' standalone='yes'?>
<Relationships xmlns="http://schemas.openxmlformats.org/package/2006/relationships"><Relationship Id="rId1" Type="http://schemas.openxmlformats.org/officeDocument/2006/relationships/tags" Target="../tags/tag4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chart" Target="../charts/chart4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2.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chart" Target="../charts/chart4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443.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xml"/></Relationships>
</file>

<file path=ppt/slides/_rels/slide444.xml.rels><?xml version='1.0' encoding='UTF-8' standalone='yes'?>
<Relationships xmlns="http://schemas.openxmlformats.org/package/2006/relationships"><Relationship Id="rId1" Type="http://schemas.openxmlformats.org/officeDocument/2006/relationships/tags" Target="../tags/tag4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446.xml.rels><?xml version='1.0' encoding='UTF-8' standalone='yes'?>
<Relationships xmlns="http://schemas.openxmlformats.org/package/2006/relationships"><Relationship Id="rId1" Type="http://schemas.openxmlformats.org/officeDocument/2006/relationships/tags" Target="../tags/tag4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chart" Target="../charts/chart4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50.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s>
</file>

<file path=ppt/slides/_rels/slide451.xml.rels><?xml version='1.0' encoding='UTF-8' standalone='yes'?>
<Relationships xmlns="http://schemas.openxmlformats.org/package/2006/relationships"><Relationship Id="rId1" Type="http://schemas.openxmlformats.org/officeDocument/2006/relationships/tags" Target="../tags/tag4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454.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xml"/></Relationships>
</file>

<file path=ppt/slides/_rels/slide455.xml.rels><?xml version='1.0' encoding='UTF-8' standalone='yes'?>
<Relationships xmlns="http://schemas.openxmlformats.org/package/2006/relationships"><Relationship Id="rId1" Type="http://schemas.openxmlformats.org/officeDocument/2006/relationships/tags" Target="../tags/tag4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xml"/></Relationships>
</file>

<file path=ppt/slides/_rels/slide457.xml.rels><?xml version='1.0' encoding='UTF-8' standalone='yes'?>
<Relationships xmlns="http://schemas.openxmlformats.org/package/2006/relationships"><Relationship Id="rId1" Type="http://schemas.openxmlformats.org/officeDocument/2006/relationships/tags" Target="../tags/tag4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chart" Target="../charts/chart4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3.xml"/></Relationships>
</file>

<file path=ppt/slides/_rels/slide461.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4.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5.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6.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7.xml"/></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8.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9.xml"/></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0.xml"/></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1.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chart" Target="../charts/chart4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3.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4.xml"/></Relationships>
</file>

<file path=ppt/slides/_rels/slide472.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5.xml"/></Relationships>
</file>

<file path=ppt/slides/_rels/slide473.xml.rels><?xml version='1.0' encoding='UTF-8' standalone='yes'?>
<Relationships xmlns="http://schemas.openxmlformats.org/package/2006/relationships"><Relationship Id="rId1" Type="http://schemas.openxmlformats.org/officeDocument/2006/relationships/tags" Target="../tags/tag500.xml"/><Relationship Id="rId2" Type="http://schemas.openxmlformats.org/officeDocument/2006/relationships/slideLayout" Target="../slideLayouts/slideLayout7.xml"/><Relationship Id="rId3" Type="http://schemas.openxmlformats.org/officeDocument/2006/relationships/notesSlide" Target="../notesSlides/notesSlide22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6.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7.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8.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9.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0.xml"/></Relationships>
</file>

<file path=ppt/slides/_rels/slide478.xml.rels><?xml version='1.0' encoding='UTF-8' standalone='yes'?>
<Relationships xmlns="http://schemas.openxmlformats.org/package/2006/relationships"><Relationship Id="rId1" Type="http://schemas.openxmlformats.org/officeDocument/2006/relationships/tags" Target="../tags/tag505.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1.xml"/></Relationships>
</file>

<file path=ppt/slides/_rels/slide479.xml.rels><?xml version='1.0' encoding='UTF-8' standalone='yes'?>
<Relationships xmlns="http://schemas.openxmlformats.org/package/2006/relationships"><Relationship Id="rId1" Type="http://schemas.openxmlformats.org/officeDocument/2006/relationships/tags" Target="../tags/tag506.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2.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chart" Target="../charts/chart4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80.xml.rels><?xml version='1.0' encoding='UTF-8' standalone='yes'?>
<Relationships xmlns="http://schemas.openxmlformats.org/package/2006/relationships"><Relationship Id="rId1" Type="http://schemas.openxmlformats.org/officeDocument/2006/relationships/tags" Target="../tags/tag507.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3.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4.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5.xml"/></Relationships>
</file>

<file path=ppt/slides/_rels/slide483.xml.rels><?xml version='1.0' encoding='UTF-8' standalone='yes'?>
<Relationships xmlns="http://schemas.openxmlformats.org/package/2006/relationships"><Relationship Id="rId1" Type="http://schemas.openxmlformats.org/officeDocument/2006/relationships/tags" Target="../tags/tag510.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6.xml"/></Relationships>
</file>

<file path=ppt/slides/_rels/slide484.xml.rels><?xml version='1.0' encoding='UTF-8' standalone='yes'?>
<Relationships xmlns="http://schemas.openxmlformats.org/package/2006/relationships"><Relationship Id="rId1" Type="http://schemas.openxmlformats.org/officeDocument/2006/relationships/tags" Target="../tags/tag511.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7.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8.xml"/></Relationships>
</file>

<file path=ppt/slides/_rels/slide486.xml.rels><?xml version='1.0' encoding='UTF-8' standalone='yes'?>
<Relationships xmlns="http://schemas.openxmlformats.org/package/2006/relationships"><Relationship Id="rId1" Type="http://schemas.openxmlformats.org/officeDocument/2006/relationships/tags" Target="../tags/tag513.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9.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0.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1.xml"/></Relationships>
</file>

<file path=ppt/slides/_rels/slide489.xml.rels><?xml version='1.0' encoding='UTF-8' standalone='yes'?>
<Relationships xmlns="http://schemas.openxmlformats.org/package/2006/relationships"><Relationship Id="rId1" Type="http://schemas.openxmlformats.org/officeDocument/2006/relationships/tags" Target="../tags/tag516.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2.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chart" Target="../charts/chart4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90.xml.rels><?xml version='1.0' encoding='UTF-8' standalone='yes'?>
<Relationships xmlns="http://schemas.openxmlformats.org/package/2006/relationships"><Relationship Id="rId1" Type="http://schemas.openxmlformats.org/officeDocument/2006/relationships/tags" Target="../tags/tag517.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3.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4.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5.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6.xml"/></Relationships>
</file>

<file path=ppt/slides/_rels/slide494.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7.xml"/></Relationships>
</file>

<file path=ppt/slides/_rels/slide495.xml.rels><?xml version='1.0' encoding='UTF-8' standalone='yes'?>
<Relationships xmlns="http://schemas.openxmlformats.org/package/2006/relationships"><Relationship Id="rId1" Type="http://schemas.openxmlformats.org/officeDocument/2006/relationships/tags" Target="../tags/tag522.xml"/><Relationship Id="rId2" Type="http://schemas.openxmlformats.org/officeDocument/2006/relationships/slideLayout" Target="../slideLayouts/slideLayout7.xml"/><Relationship Id="rId3" Type="http://schemas.openxmlformats.org/officeDocument/2006/relationships/notesSlide" Target="../notesSlides/notesSlide25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8.xml"/></Relationships>
</file>

<file path=ppt/slides/_rels/slide496.xml.rels><?xml version='1.0' encoding='UTF-8' standalone='yes'?>
<Relationships xmlns="http://schemas.openxmlformats.org/package/2006/relationships"><Relationship Id="rId1" Type="http://schemas.openxmlformats.org/officeDocument/2006/relationships/tags" Target="../tags/tag523.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9.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0.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1.xml"/></Relationships>
</file>

<file path=ppt/slides/_rels/slide499.xml.rels><?xml version='1.0' encoding='UTF-8' standalone='yes'?>
<Relationships xmlns="http://schemas.openxmlformats.org/package/2006/relationships"><Relationship Id="rId1" Type="http://schemas.openxmlformats.org/officeDocument/2006/relationships/tags" Target="../tags/tag526.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chart" Target="../charts/chart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chart" Target="../charts/chart5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00.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3.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4.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notesSlide" Target="../notesSlides/notesSlide25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5.xml"/></Relationships>
</file>

<file path=ppt/slides/_rels/slide503.xml.rels><?xml version='1.0' encoding='UTF-8' standalone='yes'?>
<Relationships xmlns="http://schemas.openxmlformats.org/package/2006/relationships"><Relationship Id="rId1" Type="http://schemas.openxmlformats.org/officeDocument/2006/relationships/tags" Target="../tags/tag530.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6.xml"/></Relationships>
</file>

<file path=ppt/slides/_rels/slide504.xml.rels><?xml version='1.0' encoding='UTF-8' standalone='yes'?>
<Relationships xmlns="http://schemas.openxmlformats.org/package/2006/relationships"><Relationship Id="rId1" Type="http://schemas.openxmlformats.org/officeDocument/2006/relationships/tags" Target="../tags/tag531.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7.xml"/></Relationships>
</file>

<file path=ppt/slides/_rels/slide505.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8.xml"/></Relationships>
</file>

<file path=ppt/slides/_rels/slide506.xml.rels><?xml version='1.0' encoding='UTF-8' standalone='yes'?>
<Relationships xmlns="http://schemas.openxmlformats.org/package/2006/relationships"><Relationship Id="rId1" Type="http://schemas.openxmlformats.org/officeDocument/2006/relationships/tags" Target="../tags/tag533.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9.xml"/></Relationships>
</file>

<file path=ppt/slides/_rels/slide507.xml.rels><?xml version='1.0' encoding='UTF-8' standalone='yes'?>
<Relationships xmlns="http://schemas.openxmlformats.org/package/2006/relationships"><Relationship Id="rId1" Type="http://schemas.openxmlformats.org/officeDocument/2006/relationships/tags" Target="../tags/tag534.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0.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1.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2.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chart" Target="../charts/chart5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10.xml.rels><?xml version='1.0' encoding='UTF-8' standalone='yes'?>
<Relationships xmlns="http://schemas.openxmlformats.org/package/2006/relationships"><Relationship Id="rId1" Type="http://schemas.openxmlformats.org/officeDocument/2006/relationships/tags" Target="../tags/tag537.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3.xml"/></Relationships>
</file>

<file path=ppt/slides/_rels/slide511.xml.rels><?xml version='1.0' encoding='UTF-8' standalone='yes'?>
<Relationships xmlns="http://schemas.openxmlformats.org/package/2006/relationships"><Relationship Id="rId1" Type="http://schemas.openxmlformats.org/officeDocument/2006/relationships/tags" Target="../tags/tag538.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4.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notesSlide" Target="../notesSlides/notesSlide26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5.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notesSlide" Target="../notesSlides/notesSlide26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6.xml"/></Relationships>
</file>

<file path=ppt/slides/_rels/slide514.xml.rels><?xml version='1.0' encoding='UTF-8' standalone='yes'?>
<Relationships xmlns="http://schemas.openxmlformats.org/package/2006/relationships"><Relationship Id="rId1" Type="http://schemas.openxmlformats.org/officeDocument/2006/relationships/tags" Target="../tags/tag541.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7.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8.xml"/></Relationships>
</file>

<file path=ppt/slides/_rels/slide516.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9.xml"/></Relationships>
</file>

<file path=ppt/slides/_rels/slide517.xml.rels><?xml version='1.0' encoding='UTF-8' standalone='yes'?>
<Relationships xmlns="http://schemas.openxmlformats.org/package/2006/relationships"><Relationship Id="rId1" Type="http://schemas.openxmlformats.org/officeDocument/2006/relationships/tags" Target="../tags/tag544.xml"/><Relationship Id="rId2" Type="http://schemas.openxmlformats.org/officeDocument/2006/relationships/slideLayout" Target="../slideLayouts/slideLayout7.xml"/><Relationship Id="rId3" Type="http://schemas.openxmlformats.org/officeDocument/2006/relationships/notesSlide" Target="../notesSlides/notesSlide27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0.xml"/></Relationships>
</file>

<file path=ppt/slides/_rels/slide518.xml.rels><?xml version='1.0' encoding='UTF-8' standalone='yes'?>
<Relationships xmlns="http://schemas.openxmlformats.org/package/2006/relationships"><Relationship Id="rId1" Type="http://schemas.openxmlformats.org/officeDocument/2006/relationships/tags" Target="../tags/tag545.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1.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chart" Target="../charts/chart5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3.xml"/></Relationships>
</file>

<file path=ppt/slides/_rels/slide521.xml.rels><?xml version='1.0' encoding='UTF-8' standalone='yes'?>
<Relationships xmlns="http://schemas.openxmlformats.org/package/2006/relationships"><Relationship Id="rId1" Type="http://schemas.openxmlformats.org/officeDocument/2006/relationships/tags" Target="../tags/tag548.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4.xml"/></Relationships>
</file>

<file path=ppt/slides/_rels/slide522.xml.rels><?xml version='1.0' encoding='UTF-8' standalone='yes'?>
<Relationships xmlns="http://schemas.openxmlformats.org/package/2006/relationships"><Relationship Id="rId1" Type="http://schemas.openxmlformats.org/officeDocument/2006/relationships/tags" Target="../tags/tag549.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5.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notesSlide" Target="../notesSlides/notesSlide27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6.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notesSlide" Target="../notesSlides/notesSlide27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7.xml"/></Relationships>
</file>

<file path=ppt/slides/_rels/slide525.xml.rels><?xml version='1.0' encoding='UTF-8' standalone='yes'?>
<Relationships xmlns="http://schemas.openxmlformats.org/package/2006/relationships"><Relationship Id="rId1" Type="http://schemas.openxmlformats.org/officeDocument/2006/relationships/tags" Target="../tags/tag552.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8.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9.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notesSlide" Target="../notesSlides/notesSlide28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0.xml"/></Relationships>
</file>

<file path=ppt/slides/_rels/slide528.xml.rels><?xml version='1.0' encoding='UTF-8' standalone='yes'?>
<Relationships xmlns="http://schemas.openxmlformats.org/package/2006/relationships"><Relationship Id="rId1" Type="http://schemas.openxmlformats.org/officeDocument/2006/relationships/tags" Target="../tags/tag555.xml"/><Relationship Id="rId2" Type="http://schemas.openxmlformats.org/officeDocument/2006/relationships/slideLayout" Target="../slideLayouts/slideLayout7.xml"/><Relationship Id="rId3" Type="http://schemas.openxmlformats.org/officeDocument/2006/relationships/notesSlide" Target="../notesSlides/notesSlide28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1.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chart" Target="../charts/chart5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3.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4.xml"/></Relationships>
</file>

<file path=ppt/slides/_rels/slide532.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5.xml"/></Relationships>
</file>

<file path=ppt/slides/_rels/slide533.xml.rels><?xml version='1.0' encoding='UTF-8' standalone='yes'?>
<Relationships xmlns="http://schemas.openxmlformats.org/package/2006/relationships"><Relationship Id="rId1" Type="http://schemas.openxmlformats.org/officeDocument/2006/relationships/tags" Target="../tags/tag560.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6.xml"/></Relationships>
</file>

<file path=ppt/slides/_rels/slide534.xml.rels><?xml version='1.0' encoding='UTF-8' standalone='yes'?>
<Relationships xmlns="http://schemas.openxmlformats.org/package/2006/relationships"><Relationship Id="rId1" Type="http://schemas.openxmlformats.org/officeDocument/2006/relationships/tags" Target="../tags/tag561.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7.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notesSlide" Target="../notesSlides/notesSlide29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8.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9.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0.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1.xml"/></Relationships>
</file>

<file path=ppt/slides/_rels/slide539.xml.rels><?xml version='1.0' encoding='UTF-8' standalone='yes'?>
<Relationships xmlns="http://schemas.openxmlformats.org/package/2006/relationships"><Relationship Id="rId1" Type="http://schemas.openxmlformats.org/officeDocument/2006/relationships/tags" Target="../tags/tag566.xml"/><Relationship Id="rId2" Type="http://schemas.openxmlformats.org/officeDocument/2006/relationships/slideLayout" Target="../slideLayouts/slideLayout7.xml"/><Relationship Id="rId3" Type="http://schemas.openxmlformats.org/officeDocument/2006/relationships/notesSlide" Target="../notesSlides/notesSlide29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2.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chart" Target="../charts/chart5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40.xml.rels><?xml version='1.0' encoding='UTF-8' standalone='yes'?>
<Relationships xmlns="http://schemas.openxmlformats.org/package/2006/relationships"><Relationship Id="rId1" Type="http://schemas.openxmlformats.org/officeDocument/2006/relationships/tags" Target="../tags/tag567.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3.xml"/></Relationships>
</file>

<file path=ppt/slides/_rels/slide541.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7.xml"/><Relationship Id="rId3" Type="http://schemas.openxmlformats.org/officeDocument/2006/relationships/notesSlide" Target="../notesSlides/notesSlide29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4.xml"/></Relationships>
</file>

<file path=ppt/slides/_rels/slide542.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5.xml"/></Relationships>
</file>

<file path=ppt/slides/_rels/slide543.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6.xml"/></Relationships>
</file>

<file path=ppt/slides/_rels/slide544.xml.rels><?xml version='1.0' encoding='UTF-8' standalone='yes'?>
<Relationships xmlns="http://schemas.openxmlformats.org/package/2006/relationships"><Relationship Id="rId1" Type="http://schemas.openxmlformats.org/officeDocument/2006/relationships/tags" Target="../tags/tag571.xml"/><Relationship Id="rId2" Type="http://schemas.openxmlformats.org/officeDocument/2006/relationships/slideLayout" Target="../slideLayouts/slideLayout7.xml"/><Relationship Id="rId3" Type="http://schemas.openxmlformats.org/officeDocument/2006/relationships/notesSlide" Target="../notesSlides/notesSlide29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7.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notesSlide" Target="../notesSlides/notesSlide30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8.xml"/></Relationships>
</file>

<file path=ppt/slides/_rels/slide546.xml.rels><?xml version='1.0' encoding='UTF-8' standalone='yes'?>
<Relationships xmlns="http://schemas.openxmlformats.org/package/2006/relationships"><Relationship Id="rId1" Type="http://schemas.openxmlformats.org/officeDocument/2006/relationships/tags" Target="../tags/tag573.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9.xml"/></Relationships>
</file>

<file path=ppt/slides/_rels/slide547.xml.rels><?xml version='1.0' encoding='UTF-8' standalone='yes'?>
<Relationships xmlns="http://schemas.openxmlformats.org/package/2006/relationships"><Relationship Id="rId1" Type="http://schemas.openxmlformats.org/officeDocument/2006/relationships/tags" Target="../tags/tag574.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0.xml"/></Relationships>
</file>

<file path=ppt/slides/_rels/slide548.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notesSlide" Target="../notesSlides/notesSlide30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1.xml"/></Relationships>
</file>

<file path=ppt/slides/_rels/slide549.xml.rels><?xml version='1.0' encoding='UTF-8' standalone='yes'?>
<Relationships xmlns="http://schemas.openxmlformats.org/package/2006/relationships"><Relationship Id="rId1" Type="http://schemas.openxmlformats.org/officeDocument/2006/relationships/tags" Target="../tags/tag576.xml"/><Relationship Id="rId2" Type="http://schemas.openxmlformats.org/officeDocument/2006/relationships/slideLayout" Target="../slideLayouts/slideLayout7.xml"/><Relationship Id="rId3" Type="http://schemas.openxmlformats.org/officeDocument/2006/relationships/notesSlide" Target="../notesSlides/notesSlide30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2.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chart" Target="../charts/chart5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50.xml.rels><?xml version='1.0' encoding='UTF-8' standalone='yes'?>
<Relationships xmlns="http://schemas.openxmlformats.org/package/2006/relationships"><Relationship Id="rId1" Type="http://schemas.openxmlformats.org/officeDocument/2006/relationships/tags" Target="../tags/tag577.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3.xml"/></Relationships>
</file>

<file path=ppt/slides/_rels/slide551.xml.rels><?xml version='1.0' encoding='UTF-8' standalone='yes'?>
<Relationships xmlns="http://schemas.openxmlformats.org/package/2006/relationships"><Relationship Id="rId1" Type="http://schemas.openxmlformats.org/officeDocument/2006/relationships/tags" Target="../tags/tag5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1" Type="http://schemas.openxmlformats.org/officeDocument/2006/relationships/tags" Target="../tags/tag5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1" Type="http://schemas.openxmlformats.org/officeDocument/2006/relationships/tags" Target="../tags/tag5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1" Type="http://schemas.openxmlformats.org/officeDocument/2006/relationships/tags" Target="../tags/tag5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1" Type="http://schemas.openxmlformats.org/officeDocument/2006/relationships/tags" Target="../tags/tag5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chart" Target="../charts/chart5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chart" Target="../charts/chart5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chart" Target="../charts/chart5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chart" Target="../charts/chart5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chart" Target="../charts/chart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chart" Target="../charts/chart6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chart" Target="../charts/chart6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chart" Target="../charts/chart6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chart" Target="../charts/chart6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chart" Target="../charts/chart6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chart" Target="../charts/chart6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chart" Target="../charts/chart6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chart" Target="../charts/chart6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chart" Target="../charts/chart6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chart" Target="../charts/chart6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chart" Target="../charts/chart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chart" Target="../charts/chart7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chart" Target="../charts/chart7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chart" Target="../charts/chart7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chart" Target="../charts/chart7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chart" Target="../charts/chart7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chart" Target="../charts/chart7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chart" Target="../charts/chart7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chart" Target="../charts/chart7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chart" Target="../charts/chart7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chart" Target="../charts/chart7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chart" Target="../charts/chart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chart" Target="../charts/chart8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chart" Target="../charts/chart8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chart" Target="../charts/chart8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chart" Target="../charts/chart8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chart" Target="../charts/chart8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chart" Target="../charts/chart8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chart" Target="../charts/chart8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chart" Target="../charts/chart8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 Id="rId7" Type="http://schemas.openxmlformats.org/officeDocument/2006/relationships/chart" Target="../charts/chart89.xml"/><Relationship Id="rId8" Type="http://schemas.openxmlformats.org/officeDocument/2006/relationships/chart" Target="../charts/chart90.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 Id="rId7" Type="http://schemas.openxmlformats.org/officeDocument/2006/relationships/chart" Target="../charts/chart92.xml"/><Relationship Id="rId8" Type="http://schemas.openxmlformats.org/officeDocument/2006/relationships/chart" Target="../charts/chart93.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chart" Target="../charts/chart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 Id="rId7" Type="http://schemas.openxmlformats.org/officeDocument/2006/relationships/chart" Target="../charts/chart95.xml"/><Relationship Id="rId8" Type="http://schemas.openxmlformats.org/officeDocument/2006/relationships/chart" Target="../charts/chart96.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 Id="rId7" Type="http://schemas.openxmlformats.org/officeDocument/2006/relationships/chart" Target="../charts/chart104.xml"/><Relationship Id="rId8" Type="http://schemas.openxmlformats.org/officeDocument/2006/relationships/chart" Target="../charts/chart105.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 Id="rId7" Type="http://schemas.openxmlformats.org/officeDocument/2006/relationships/chart" Target="../charts/chart107.xml"/><Relationship Id="rId8" Type="http://schemas.openxmlformats.org/officeDocument/2006/relationships/chart" Target="../charts/chart108.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 Id="rId7" Type="http://schemas.openxmlformats.org/officeDocument/2006/relationships/chart" Target="../charts/chart113.xml"/><Relationship Id="rId8" Type="http://schemas.openxmlformats.org/officeDocument/2006/relationships/chart" Target="../charts/chart114.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 Id="rId7" Type="http://schemas.openxmlformats.org/officeDocument/2006/relationships/chart" Target="../charts/chart116.xml"/><Relationship Id="rId8" Type="http://schemas.openxmlformats.org/officeDocument/2006/relationships/chart" Target="../charts/chart11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 Id="rId7" Type="http://schemas.openxmlformats.org/officeDocument/2006/relationships/chart" Target="../charts/chart119.xml"/><Relationship Id="rId8" Type="http://schemas.openxmlformats.org/officeDocument/2006/relationships/chart" Target="../charts/chart120.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45752" y="1387069"/>
            <a:ext cx="4481887" cy="150994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97010"/>
            <a:ext cx="268764" cy="146469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45752" y="2897010"/>
            <a:ext cx="4481887" cy="14646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8764" cy="15099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9701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4074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713381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116980" y="1387069"/>
            <a:ext cx="4210659" cy="16012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8339"/>
            <a:ext cx="539992" cy="13733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116980" y="2988339"/>
            <a:ext cx="4210659" cy="13733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539992" cy="16012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83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67863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8124154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5819994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1786214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4837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0310254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772273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273893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3599272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7927975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1515300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17027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78689" y="1387069"/>
            <a:ext cx="3548950" cy="17268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879"/>
            <a:ext cx="1201701" cy="12478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78689" y="3113879"/>
            <a:ext cx="3548950" cy="12478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01701" cy="17268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8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4034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536083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8164953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8116234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1152588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7530353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2270909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2575758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5060669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5431606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577367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3407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93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6459"/>
            <a:ext cx="2375325" cy="12752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6459"/>
            <a:ext cx="2375326" cy="12752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93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64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4111662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4646686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2155298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8785317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3258546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3104367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219340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6932743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5566635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2232022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70572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43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1450"/>
            <a:ext cx="2375325" cy="12802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1450"/>
            <a:ext cx="2375326" cy="12802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43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14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6064310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809125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0117784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1601554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404029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951643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028486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060505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79718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996557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72088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684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3910"/>
            <a:ext cx="2375325" cy="127779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3910"/>
            <a:ext cx="2375326" cy="12777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68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391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4203188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2038837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2210026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5952062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1140207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5815066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5960161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9014119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5633012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8365852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150156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64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559"/>
            <a:ext cx="2375325" cy="12481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13559"/>
            <a:ext cx="2375326" cy="12481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64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5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1356155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4552283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9881560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6471259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8695535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9121509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7683358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876674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6467738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49031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69851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796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5037"/>
            <a:ext cx="2375325" cy="127667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5037"/>
            <a:ext cx="2375326" cy="1276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79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50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216517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8538051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7832741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691608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050345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630801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2336348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3352156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1419621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545403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624584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606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137"/>
            <a:ext cx="2375325" cy="125857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3137"/>
            <a:ext cx="2375326" cy="12585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60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1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43299117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3385704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6903086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0006845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456568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6636199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51897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2576185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7449157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925572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525511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59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055"/>
            <a:ext cx="2375325" cy="12586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3055"/>
            <a:ext cx="2375326" cy="12586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59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0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3785838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574476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8322378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0794956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293466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0818886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06212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853457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7221076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8173069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876043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75325"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06"/>
            <a:ext cx="2375326"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9603085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678056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7833358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7841495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559792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0906576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9922472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7409695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573365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0475075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0512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36876" y="1387069"/>
            <a:ext cx="4090763" cy="15293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389"/>
            <a:ext cx="659888" cy="14453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36876" y="2916389"/>
            <a:ext cx="4090763" cy="14453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659888" cy="15293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63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79853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59838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079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7862"/>
            <a:ext cx="2375325" cy="128384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77862"/>
            <a:ext cx="2375326" cy="12838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07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78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8892225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2385445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9559743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0638004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1297328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945219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0537439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002673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3965777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3359432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321643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883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69"/>
            <a:ext cx="2375325" cy="12863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75369"/>
            <a:ext cx="2375326" cy="12863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883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3819329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4158778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2765263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chick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463298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Cremo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944594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quate | Pbg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511571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0609538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9356006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5810100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6087993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64"/>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61112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22708" y="1387069"/>
            <a:ext cx="2304931" cy="175373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40801"/>
            <a:ext cx="2445720" cy="122090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22708" y="3140801"/>
            <a:ext cx="2304931" cy="122090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45720" cy="175373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408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8436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7826044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1318419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64"/>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2969342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9919895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2087623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5730507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4"/>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5142753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5396007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78390074"/>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9878118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49907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98046" y="1387069"/>
            <a:ext cx="2429593" cy="168920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6270"/>
            <a:ext cx="2321058" cy="128543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98046" y="3076270"/>
            <a:ext cx="2429593" cy="12854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21058" cy="16892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62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597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9417212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9386591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2009472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4775102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2831108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6526881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3559500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857482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5307502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0330670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35367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91245" y="1387069"/>
            <a:ext cx="2236394" cy="174042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7492"/>
            <a:ext cx="2514257" cy="123421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91245" y="3127492"/>
            <a:ext cx="2236394" cy="12342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14257" cy="17404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74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5290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9728440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566196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7357053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5709837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768371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9181797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0594988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0764691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0644571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4269376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745757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56575" y="1387069"/>
            <a:ext cx="2071064" cy="168436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1435"/>
            <a:ext cx="2679587" cy="129027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56575" y="3071435"/>
            <a:ext cx="2071064" cy="12902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79587" cy="16843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14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182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846557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368434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7509938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5795170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0385845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7949637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2769250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228526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51602434"/>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027969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409371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28605" y="1387069"/>
            <a:ext cx="2099034" cy="17427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9789"/>
            <a:ext cx="2651617" cy="12319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28605" y="3129789"/>
            <a:ext cx="2099034" cy="12319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51617" cy="17427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97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026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025006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0555677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1393225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9153860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135419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4068481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5231628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2202659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08408034"/>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8243043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597713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13337" y="1387069"/>
            <a:ext cx="2114302" cy="168881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882"/>
            <a:ext cx="2636349" cy="128582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13337" y="3075882"/>
            <a:ext cx="2114302" cy="128582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36349" cy="168881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8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749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7717414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82574207"/>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7159128"/>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9118152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5839129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0329643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4136890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9563340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System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5013796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System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5287677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41540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61263" y="1387069"/>
            <a:ext cx="2266376" cy="18392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26341"/>
            <a:ext cx="2484275" cy="11353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61263" y="3226341"/>
            <a:ext cx="2266376" cy="11353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84275" cy="18392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263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229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56686125"/>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5743397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8833883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8826738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8496852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7009738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8978203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85154145"/>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8885247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8765315"/>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46193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3297" y="1387069"/>
            <a:ext cx="2374342" cy="171944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512"/>
            <a:ext cx="2376309" cy="125519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3297" y="3106512"/>
            <a:ext cx="2374342" cy="12551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6309" cy="17194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5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495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61629057"/>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7346925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6854235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1020388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9162699"/>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5011071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3110558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39812909"/>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785238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2983595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19098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111660" y="1387069"/>
            <a:ext cx="4215979" cy="15885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5617"/>
            <a:ext cx="534672" cy="13860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111660" y="2975617"/>
            <a:ext cx="4215979" cy="13860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534672" cy="15885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756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6733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708772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90530" y="1387069"/>
            <a:ext cx="2337109" cy="168780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4872"/>
            <a:ext cx="2413542" cy="128683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90530" y="3074872"/>
            <a:ext cx="2337109" cy="12868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13542" cy="16878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487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5218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9560286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9167033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9578285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6264178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91251740"/>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8267687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80465946"/>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9397971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7007313"/>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2015631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084388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5490" y="1387069"/>
            <a:ext cx="2372149" cy="16882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39"/>
            <a:ext cx="2378502" cy="12863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5490" y="3075339"/>
            <a:ext cx="2372149" cy="12863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8502" cy="16882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71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9599776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3282613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18717580"/>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4748181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55747810"/>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6939874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69556988"/>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52718169"/>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3946458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7454873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98182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36848" y="1387069"/>
            <a:ext cx="2890791" cy="16958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2917"/>
            <a:ext cx="1859860" cy="12787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36848" y="3082917"/>
            <a:ext cx="2890791" cy="12787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59860" cy="16958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29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9850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41993512"/>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385490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99736801"/>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4334660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15041896"/>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19603307"/>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2800652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52618731"/>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88846697"/>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4639100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539202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45576" y="1387069"/>
            <a:ext cx="3482063" cy="189164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8713"/>
            <a:ext cx="1268588" cy="108299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45576" y="3278713"/>
            <a:ext cx="3482063" cy="10829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68588" cy="18916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87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0723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6634687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1176217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9107531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9385031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1419028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8341728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9089363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5"/>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6062352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79164066"/>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90001144"/>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350755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68595" y="1387069"/>
            <a:ext cx="2859044" cy="16970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4131"/>
            <a:ext cx="1891607" cy="12775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68595" y="3084131"/>
            <a:ext cx="2859044" cy="12775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91607" cy="16970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41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3025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1221178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899176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7005310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741790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65453577"/>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2129455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Manual Shave Men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31559205"/>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Manual Shave Men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0891076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Disposable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12680059"/>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Disposable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7513043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azor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33298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52172" y="1387069"/>
            <a:ext cx="3475467" cy="18891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6180"/>
            <a:ext cx="1275184" cy="10855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52172" y="3276180"/>
            <a:ext cx="3475467" cy="10855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75184" cy="18891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61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1382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95495493"/>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azor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2571972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Refill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3165146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Refills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723726">
                  <a:extLst>
                    <a:ext uri="{9D8B030D-6E8A-4147-A177-3AD203B41FA5}">
                      <a16:colId xmlns:a16="http://schemas.microsoft.com/office/drawing/2014/main" val="2214050810"/>
                    </a:ext>
                  </a:extLst>
                </a:gridCol>
                <a:gridCol w="3723726">
                  <a:extLst>
                    <a:ext uri="{9D8B030D-6E8A-4147-A177-3AD203B41FA5}">
                      <a16:colId xmlns:a16="http://schemas.microsoft.com/office/drawing/2014/main" val="704225536"/>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00095289"/>
                  </a:ext>
                </a:extLst>
              </a:tr>
              <a:tr h="32470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32470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32470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324705">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32470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32470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3546395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0010615"/>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7406342"/>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0508814"/>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9175690"/>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536104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25278281"/>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59217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78643" y="1387069"/>
            <a:ext cx="3148996" cy="168539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2460"/>
            <a:ext cx="1601655" cy="128924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78643" y="3072460"/>
            <a:ext cx="3148996" cy="12892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01655" cy="16853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24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4030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94114860"/>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6094164"/>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536628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615058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2530385"/>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4395867"/>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4091445"/>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6686645"/>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622323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3692679"/>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83735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48319" y="1387069"/>
            <a:ext cx="3479320" cy="19008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7930"/>
            <a:ext cx="1271331" cy="10737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48319" y="3287930"/>
            <a:ext cx="3479320" cy="10737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71331" cy="19008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79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099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63946093"/>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913805"/>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6788295"/>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905239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793158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1102272"/>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9958138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1981415"/>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0785502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910073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67729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21017" y="1387069"/>
            <a:ext cx="3106622" cy="169092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7992"/>
            <a:ext cx="1644029" cy="128371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21017" y="3077992"/>
            <a:ext cx="3106622" cy="12837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44029" cy="16909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79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8267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4573624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1110193"/>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48325175"/>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611372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65861767"/>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8317480"/>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1587598"/>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67135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9093601"/>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650918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79519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2027" y="1387069"/>
            <a:ext cx="3565612" cy="191419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1268"/>
            <a:ext cx="1185039" cy="106044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2027" y="3301268"/>
            <a:ext cx="3565612" cy="10604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85039" cy="19141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12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2368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94427567"/>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002105"/>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2195614"/>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2083406"/>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7199925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6123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60175021"/>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4750009"/>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5282727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339006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70443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84738" y="1387069"/>
            <a:ext cx="3542901" cy="172602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091"/>
            <a:ext cx="1207750" cy="124861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84738" y="3113091"/>
            <a:ext cx="3542901" cy="12486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07750" cy="17260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09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463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551942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40779" y="1387069"/>
            <a:ext cx="3186860" cy="15930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0119"/>
            <a:ext cx="1563791" cy="13815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40779" y="2980119"/>
            <a:ext cx="3186860" cy="13815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63791" cy="15930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01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0243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45006760"/>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156363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0587225"/>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9984667"/>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21853670"/>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7954553"/>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8592820"/>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5274329"/>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6954736"/>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00870550"/>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Manual Shave 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68018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3955" y="1387069"/>
            <a:ext cx="3973684" cy="19639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51031"/>
            <a:ext cx="776967" cy="10106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3955" y="3351031"/>
            <a:ext cx="3973684" cy="10106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6967" cy="19639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510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1561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57287462"/>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Manual Shave 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3632286"/>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201437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Manual Shave 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7932881"/>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Manual Shave 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0711542"/>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041927"/>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Manual Shave 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7057177"/>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Manual Shave 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815757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231252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Manual Shave 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2619226"/>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97805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65124" y="1387069"/>
            <a:ext cx="3162515" cy="15945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1589"/>
            <a:ext cx="1588136" cy="13801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65124" y="2981589"/>
            <a:ext cx="3162515" cy="13801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88136" cy="15945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15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267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97915007"/>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System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83726046"/>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System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6490449"/>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851055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System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69814180"/>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22368532"/>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System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47902679"/>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System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464295"/>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101857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System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5385717"/>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System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749539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6575" y="1387069"/>
            <a:ext cx="3971064" cy="19612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48358"/>
            <a:ext cx="779587" cy="10133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6575" y="3348358"/>
            <a:ext cx="3971064" cy="10133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9587" cy="19612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483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182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0382781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09996645"/>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Disposable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3614182"/>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7276675"/>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Disposable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093880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0207312"/>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Disposable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4894999"/>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069121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Disposable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3836821"/>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281026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azor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03003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50125" y="1387069"/>
            <a:ext cx="3377514" cy="16033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90430"/>
            <a:ext cx="1373137" cy="13712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50125" y="2990430"/>
            <a:ext cx="3377514" cy="13712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73137" cy="16033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904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117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07401602"/>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Razor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134294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4855076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azor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764672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Razor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2608922"/>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393601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azor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409952"/>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4474479"/>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azor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0029668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Razor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43820184"/>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41233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70728" y="1387069"/>
            <a:ext cx="3956911" cy="197591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62985"/>
            <a:ext cx="793740" cy="99872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70728" y="3362985"/>
            <a:ext cx="3956911" cy="9987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93740" cy="19759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629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3238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13495636"/>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efill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7545715"/>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Refill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197563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2536913"/>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efill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6070051"/>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5147969"/>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efill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328226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5747266"/>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chick | Refill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244868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Cremo | Refill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7472313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quate | Pbg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147670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73914" y="1387069"/>
            <a:ext cx="3353725" cy="160094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8009"/>
            <a:ext cx="1396926" cy="137370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73914" y="2988009"/>
            <a:ext cx="3353725" cy="13737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96926" cy="16009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800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3557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76771857"/>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8515025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61806214"/>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2353904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5666329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8536581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32765308"/>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8806257"/>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7857453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4227475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155517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04640" y="1387069"/>
            <a:ext cx="4022999" cy="19855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72665"/>
            <a:ext cx="727652" cy="9890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04640" y="3372665"/>
            <a:ext cx="4022999" cy="9890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27652" cy="19855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726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662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9630787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598037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30063460"/>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74648007"/>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56492881"/>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92365420"/>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358115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4114856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72180076"/>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8473573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24386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0096" y="1387069"/>
            <a:ext cx="3977543" cy="143120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18275"/>
            <a:ext cx="773108" cy="154343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0096" y="2818275"/>
            <a:ext cx="3977543" cy="15434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3108" cy="14312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182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1175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2022253"/>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54515126"/>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554578"/>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2701276"/>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41297123"/>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46983867"/>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04897572"/>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8995819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32432488"/>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3730228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621420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07043" y="1387069"/>
            <a:ext cx="3420596" cy="16114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98498"/>
            <a:ext cx="1330055" cy="13632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07043" y="2998498"/>
            <a:ext cx="3420596" cy="13632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30055" cy="16114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984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6870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70182790"/>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16264009"/>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78228323"/>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75098596"/>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45437895"/>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72045069"/>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7241393"/>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54458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88158537"/>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4101594"/>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55255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31795" y="1387069"/>
            <a:ext cx="4495844" cy="148021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7283"/>
            <a:ext cx="254807" cy="149442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31795" y="2867283"/>
            <a:ext cx="4495844" cy="149442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4807" cy="148021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72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9345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945720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43992" y="1387069"/>
            <a:ext cx="3883647" cy="154380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30872"/>
            <a:ext cx="867004" cy="143083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43992" y="2930872"/>
            <a:ext cx="3883647" cy="14308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67004" cy="15438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3087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0564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4182986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62770768"/>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72311570"/>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4259966"/>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02868615"/>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3746042"/>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3321962"/>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8989682"/>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213816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31035410"/>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09048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64315" y="1387069"/>
            <a:ext cx="3363324" cy="157732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4392"/>
            <a:ext cx="1387327" cy="139731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64315" y="2964392"/>
            <a:ext cx="3363324" cy="13973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87327" cy="15773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43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59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18783486"/>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86470518"/>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8259430"/>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3330867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62457866"/>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6913902"/>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3698224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45204722"/>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15605912"/>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691821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018067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32882" y="1387069"/>
            <a:ext cx="3894757" cy="15350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22165"/>
            <a:ext cx="855894" cy="14395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32882" y="2922165"/>
            <a:ext cx="3894757" cy="14395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55894" cy="15350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221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9453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26754433"/>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89169193"/>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440901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67624932"/>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4591608"/>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01355586"/>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78493911"/>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8365754"/>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75870817"/>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1422393"/>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677280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57719" y="1387069"/>
            <a:ext cx="3369920" cy="15903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7434"/>
            <a:ext cx="1380731" cy="13842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57719" y="2977434"/>
            <a:ext cx="3369920" cy="13842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80731" cy="15903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774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193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0308935"/>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59471860"/>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90460737"/>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14350710"/>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54796857"/>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53788502"/>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47025628"/>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2859169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2586650"/>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94857535"/>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0521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86739" y="1387069"/>
            <a:ext cx="3240900" cy="17048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918"/>
            <a:ext cx="1509751" cy="12697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86739" y="3091918"/>
            <a:ext cx="3240900" cy="12697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09751" cy="17048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9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4839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4359781"/>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27270719"/>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2001128"/>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18032469"/>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80720425"/>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25728103"/>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71523540"/>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5999632"/>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5222113"/>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chick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10606640"/>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Cremo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913284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24785" y="1387069"/>
            <a:ext cx="3402854" cy="16207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07855"/>
            <a:ext cx="1347797" cy="13538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24785" y="3007855"/>
            <a:ext cx="3402854" cy="13538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47797" cy="16207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078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864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927035"/>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quate | Pbg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70563827"/>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0.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62737480"/>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3.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212133029"/>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271370191"/>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8.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268426373"/>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332568926"/>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730443432"/>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616500481"/>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8.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1202719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61715" y="1387069"/>
            <a:ext cx="3865924" cy="157376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0829"/>
            <a:ext cx="884727" cy="140088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61715" y="2960829"/>
            <a:ext cx="3865924" cy="140088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84727" cy="157376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08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233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98237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30752" y="1387069"/>
            <a:ext cx="3096887" cy="15175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4634"/>
            <a:ext cx="1653764" cy="14570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30752" y="2904634"/>
            <a:ext cx="3096887" cy="14570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53764" cy="15175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46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924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100677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94938" y="1387069"/>
            <a:ext cx="3432701" cy="18036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90671"/>
            <a:ext cx="1317950" cy="117103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94938" y="3190671"/>
            <a:ext cx="3432701" cy="1171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17950" cy="1803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906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65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680843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75071" y="1387069"/>
            <a:ext cx="3052568" cy="15289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5969"/>
            <a:ext cx="1698083" cy="14457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75071" y="2915969"/>
            <a:ext cx="3052568" cy="14457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98083" cy="15289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59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3672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66380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77380" y="1387069"/>
            <a:ext cx="4050259" cy="14917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8839"/>
            <a:ext cx="700392" cy="14828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77380" y="2878839"/>
            <a:ext cx="4050259" cy="14828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00392" cy="14917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88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3903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093729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17368" y="1387069"/>
            <a:ext cx="3910271" cy="139282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79896"/>
            <a:ext cx="840380" cy="158181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17368" y="2779896"/>
            <a:ext cx="3910271" cy="158181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40380" cy="139282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798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790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571563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36218" y="1387069"/>
            <a:ext cx="3091421" cy="15224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9507"/>
            <a:ext cx="1659230" cy="14522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36218" y="2909507"/>
            <a:ext cx="3091421" cy="14522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59230" cy="15224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95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978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660045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57343" y="1387069"/>
            <a:ext cx="3870296" cy="15663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53465"/>
            <a:ext cx="880355" cy="14082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57343" y="2953465"/>
            <a:ext cx="3870296" cy="14082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80355" cy="15663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534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1900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741248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14024" y="1387069"/>
            <a:ext cx="3013615" cy="15291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169"/>
            <a:ext cx="1737036" cy="14455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14024" y="2916169"/>
            <a:ext cx="3013615" cy="14455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37036" cy="15291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61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756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15803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10896" y="1387069"/>
            <a:ext cx="2316743" cy="154788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34957"/>
            <a:ext cx="2433908" cy="142675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10896" y="2934957"/>
            <a:ext cx="2316743" cy="14267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33908" cy="15478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349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7255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148136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52606" y="1387069"/>
            <a:ext cx="2575033" cy="14952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82350"/>
            <a:ext cx="2175618" cy="14793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52606" y="2882350"/>
            <a:ext cx="2575033" cy="14793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75618" cy="14952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823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142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89468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1181" y="1387069"/>
            <a:ext cx="2396458" cy="149291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9984"/>
            <a:ext cx="2354193" cy="148172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1181" y="2879984"/>
            <a:ext cx="2396458" cy="14817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4193" cy="14929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99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283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870526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97641" y="1387069"/>
            <a:ext cx="2629998" cy="15214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8500"/>
            <a:ext cx="2120653" cy="14532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97641" y="2908500"/>
            <a:ext cx="2629998" cy="14532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20653" cy="15214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85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5929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709058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23407" y="1387069"/>
            <a:ext cx="2304232" cy="163999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27063"/>
            <a:ext cx="2446419" cy="133464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23407" y="3027063"/>
            <a:ext cx="2304232" cy="133464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46419" cy="163999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270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850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851181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87471" y="1387069"/>
            <a:ext cx="2740168" cy="15599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7038"/>
            <a:ext cx="2010483" cy="14146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87471" y="2947038"/>
            <a:ext cx="2740168" cy="14146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10483" cy="15599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470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4912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87211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074363" y="1387069"/>
            <a:ext cx="4253276" cy="148474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1813"/>
            <a:ext cx="497375" cy="148989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074363" y="2871813"/>
            <a:ext cx="4253276" cy="14898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97375" cy="14847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18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6360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6266408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16415" y="1387069"/>
            <a:ext cx="2311224" cy="15574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4517"/>
            <a:ext cx="2439427" cy="14171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16415" y="2944517"/>
            <a:ext cx="2311224" cy="14171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39427" cy="15574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445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780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758491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70108" y="1387069"/>
            <a:ext cx="2557531" cy="14880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5138"/>
            <a:ext cx="2193120" cy="14865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70108" y="2875138"/>
            <a:ext cx="2557531" cy="14865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93120" cy="14880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51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3176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559806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65909" y="1387069"/>
            <a:ext cx="3861730" cy="148288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9953"/>
            <a:ext cx="888921" cy="149175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65909" y="2869953"/>
            <a:ext cx="3861730" cy="14917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88921" cy="14828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99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2756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113524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7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43"/>
            <a:ext cx="2375325" cy="125486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43"/>
            <a:ext cx="2375326" cy="12548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642171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48392" y="1387069"/>
            <a:ext cx="3779247" cy="1707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4393"/>
            <a:ext cx="971404" cy="1267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48392" y="3094393"/>
            <a:ext cx="3779247" cy="12673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71404" cy="17073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43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1004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056905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75325"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06"/>
            <a:ext cx="2375326"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666468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0704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4114"/>
            <a:ext cx="2375325" cy="126759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4114"/>
            <a:ext cx="2375326" cy="126759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0704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41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087287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794"/>
            <a:ext cx="2375325" cy="12549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794"/>
            <a:ext cx="2375326" cy="12549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7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381739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39275" y="1387069"/>
            <a:ext cx="3788364" cy="16858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2869"/>
            <a:ext cx="962287" cy="12888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39275" y="3072869"/>
            <a:ext cx="3788364" cy="12888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62287" cy="16858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28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009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1146284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75325"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06"/>
            <a:ext cx="2375326"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50015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50053" y="1387069"/>
            <a:ext cx="4477586" cy="15149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1994"/>
            <a:ext cx="273065" cy="14597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50053" y="2901994"/>
            <a:ext cx="4477586" cy="14597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3065" cy="15149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19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41171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6932319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72769" y="1387069"/>
            <a:ext cx="3154870" cy="18471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4238"/>
            <a:ext cx="1595781" cy="11274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72769" y="3234238"/>
            <a:ext cx="3154870" cy="11274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95781" cy="18471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42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3442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3738930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91415" y="1387069"/>
            <a:ext cx="1936224" cy="166629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53361"/>
            <a:ext cx="2814427" cy="130834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91415" y="3053361"/>
            <a:ext cx="1936224" cy="13083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14427" cy="16662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533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30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02641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83303" y="1387069"/>
            <a:ext cx="1644336" cy="17459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32979"/>
            <a:ext cx="3106315" cy="12287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83303" y="3132979"/>
            <a:ext cx="1644336" cy="12287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106315" cy="17459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329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449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4888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44946" y="1387069"/>
            <a:ext cx="2082693" cy="16565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3594"/>
            <a:ext cx="2667958" cy="13181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44946" y="3043594"/>
            <a:ext cx="2082693" cy="13181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67958" cy="16565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35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066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820253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08375" y="1387069"/>
            <a:ext cx="3819264" cy="18502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7273"/>
            <a:ext cx="931387" cy="11244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08375" y="3237273"/>
            <a:ext cx="3819264" cy="11244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31387" cy="18502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72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700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5568513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84476" y="1387069"/>
            <a:ext cx="2043163" cy="165318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0257"/>
            <a:ext cx="2707488" cy="132145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84476" y="3040257"/>
            <a:ext cx="2043163" cy="13214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07488" cy="16531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02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613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916234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66207" y="1387069"/>
            <a:ext cx="3161432" cy="184677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3848"/>
            <a:ext cx="1589219" cy="112786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66207" y="3233848"/>
            <a:ext cx="3161432" cy="11278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89219" cy="18467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384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278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179797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67960" y="1387069"/>
            <a:ext cx="2059679" cy="16546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1719"/>
            <a:ext cx="2690972" cy="13199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67960" y="3041719"/>
            <a:ext cx="2059679" cy="13199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90972" cy="16546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17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296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121467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6298395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35471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37726" y="1387069"/>
            <a:ext cx="4089913" cy="15337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20805"/>
            <a:ext cx="660738" cy="144090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37726" y="2920805"/>
            <a:ext cx="4089913" cy="14409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660738" cy="15337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2080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79938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344931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839145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660352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8367020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8347927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3350749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7883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9985628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816256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4536014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92147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3.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docProps/app.xml><?xml version="1.0" encoding="utf-8"?>
<Properties xmlns="http://schemas.openxmlformats.org/officeDocument/2006/extended-properties" xmlns:vt="http://schemas.openxmlformats.org/officeDocument/2006/docPropsVTypes">
  <Template/>
  <TotalTime>103</TotalTime>
  <Words>304809</Words>
  <Application>Microsoft Office PowerPoint</Application>
  <PresentationFormat>On-screen Show (16:9)</PresentationFormat>
  <Paragraphs>114864</Paragraphs>
  <Slides>558</Slides>
  <Notes>30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58</vt:i4>
      </vt:variant>
    </vt:vector>
  </HeadingPairs>
  <TitlesOfParts>
    <vt:vector size="56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4</cp:revision>
  <dcterms:created xsi:type="dcterms:W3CDTF">2024-07-05T15:31:56Z</dcterms:created>
  <dcterms:modified xsi:type="dcterms:W3CDTF">2025-09-16T16: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